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4"/>
  </p:notesMasterIdLst>
  <p:sldIdLst>
    <p:sldId id="256" r:id="rId2"/>
    <p:sldId id="259" r:id="rId3"/>
    <p:sldId id="341" r:id="rId4"/>
    <p:sldId id="340" r:id="rId5"/>
    <p:sldId id="265" r:id="rId6"/>
    <p:sldId id="268" r:id="rId7"/>
    <p:sldId id="266" r:id="rId8"/>
    <p:sldId id="267" r:id="rId9"/>
    <p:sldId id="269" r:id="rId10"/>
    <p:sldId id="297" r:id="rId11"/>
    <p:sldId id="298" r:id="rId12"/>
    <p:sldId id="296" r:id="rId13"/>
    <p:sldId id="283" r:id="rId14"/>
    <p:sldId id="288" r:id="rId15"/>
    <p:sldId id="291" r:id="rId16"/>
    <p:sldId id="289" r:id="rId17"/>
    <p:sldId id="284" r:id="rId18"/>
    <p:sldId id="293" r:id="rId19"/>
    <p:sldId id="292" r:id="rId20"/>
    <p:sldId id="285" r:id="rId21"/>
    <p:sldId id="294" r:id="rId22"/>
    <p:sldId id="286" r:id="rId23"/>
    <p:sldId id="295" r:id="rId24"/>
    <p:sldId id="270" r:id="rId25"/>
    <p:sldId id="280" r:id="rId26"/>
    <p:sldId id="281" r:id="rId27"/>
    <p:sldId id="282" r:id="rId28"/>
    <p:sldId id="279" r:id="rId29"/>
    <p:sldId id="271" r:id="rId30"/>
    <p:sldId id="272" r:id="rId31"/>
    <p:sldId id="273" r:id="rId32"/>
    <p:sldId id="274" r:id="rId33"/>
    <p:sldId id="276" r:id="rId34"/>
    <p:sldId id="275" r:id="rId35"/>
    <p:sldId id="277" r:id="rId36"/>
    <p:sldId id="278" r:id="rId37"/>
    <p:sldId id="299" r:id="rId38"/>
    <p:sldId id="258" r:id="rId39"/>
    <p:sldId id="300" r:id="rId40"/>
    <p:sldId id="301" r:id="rId41"/>
    <p:sldId id="302" r:id="rId42"/>
    <p:sldId id="303" r:id="rId43"/>
    <p:sldId id="304" r:id="rId44"/>
    <p:sldId id="305" r:id="rId45"/>
    <p:sldId id="263" r:id="rId46"/>
    <p:sldId id="306" r:id="rId47"/>
    <p:sldId id="307" r:id="rId48"/>
    <p:sldId id="308" r:id="rId49"/>
    <p:sldId id="309" r:id="rId50"/>
    <p:sldId id="257" r:id="rId51"/>
    <p:sldId id="310" r:id="rId52"/>
    <p:sldId id="311" r:id="rId53"/>
    <p:sldId id="312" r:id="rId54"/>
    <p:sldId id="313" r:id="rId55"/>
    <p:sldId id="314" r:id="rId56"/>
    <p:sldId id="315" r:id="rId57"/>
    <p:sldId id="316" r:id="rId58"/>
    <p:sldId id="317" r:id="rId59"/>
    <p:sldId id="318" r:id="rId60"/>
    <p:sldId id="319" r:id="rId61"/>
    <p:sldId id="320" r:id="rId62"/>
    <p:sldId id="321" r:id="rId63"/>
    <p:sldId id="322" r:id="rId64"/>
    <p:sldId id="323" r:id="rId65"/>
    <p:sldId id="324" r:id="rId66"/>
    <p:sldId id="325" r:id="rId67"/>
    <p:sldId id="326" r:id="rId68"/>
    <p:sldId id="327" r:id="rId69"/>
    <p:sldId id="328" r:id="rId70"/>
    <p:sldId id="329" r:id="rId71"/>
    <p:sldId id="330" r:id="rId72"/>
    <p:sldId id="287" r:id="rId73"/>
    <p:sldId id="331" r:id="rId74"/>
    <p:sldId id="332" r:id="rId75"/>
    <p:sldId id="290" r:id="rId76"/>
    <p:sldId id="333" r:id="rId77"/>
    <p:sldId id="334" r:id="rId78"/>
    <p:sldId id="335" r:id="rId79"/>
    <p:sldId id="336" r:id="rId80"/>
    <p:sldId id="337" r:id="rId81"/>
    <p:sldId id="338" r:id="rId82"/>
    <p:sldId id="339" r:id="rId83"/>
  </p:sldIdLst>
  <p:sldSz cx="12192000" cy="6858000"/>
  <p:notesSz cx="6858000" cy="9144000"/>
  <p:custDataLst>
    <p:tags r:id="rId8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6A8331-347D-409E-8AEA-00273C3E4793}" v="203" dt="2025-11-14T14:47:04.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4404" autoAdjust="0"/>
  </p:normalViewPr>
  <p:slideViewPr>
    <p:cSldViewPr snapToGrid="0" showGuides="1">
      <p:cViewPr varScale="1">
        <p:scale>
          <a:sx n="102" d="100"/>
          <a:sy n="102" d="100"/>
        </p:scale>
        <p:origin x="144" y="4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notesMaster" Target="notesMasters/notesMaster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microsoft.com/office/2016/11/relationships/changesInfo" Target="changesInfos/changesInfo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ags" Target="tags/tag1.xml"/><Relationship Id="rId93" Type="http://schemas.openxmlformats.org/officeDocument/2006/relationships/customXml" Target="../customXml/item2.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94"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ustomXml" Target="../customXml/item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lette Simon" userId="f8e6e685-e2ee-4044-a307-57648a3e1d7f" providerId="ADAL" clId="{E743E4AA-11AD-4765-83A7-99ECEACBDB7B}"/>
    <pc:docChg chg="undo redo custSel modSld modMainMaster">
      <pc:chgData name="Arlette Simon" userId="f8e6e685-e2ee-4044-a307-57648a3e1d7f" providerId="ADAL" clId="{E743E4AA-11AD-4765-83A7-99ECEACBDB7B}" dt="2025-11-14T15:00:07.228" v="1048" actId="14100"/>
      <pc:docMkLst>
        <pc:docMk/>
      </pc:docMkLst>
      <pc:sldChg chg="addSp delSp modSp mod chgLayout">
        <pc:chgData name="Arlette Simon" userId="f8e6e685-e2ee-4044-a307-57648a3e1d7f" providerId="ADAL" clId="{E743E4AA-11AD-4765-83A7-99ECEACBDB7B}" dt="2025-11-14T11:26:44.586" v="478" actId="15"/>
        <pc:sldMkLst>
          <pc:docMk/>
          <pc:sldMk cId="4170498651" sldId="258"/>
        </pc:sldMkLst>
        <pc:spChg chg="mod ord">
          <ac:chgData name="Arlette Simon" userId="f8e6e685-e2ee-4044-a307-57648a3e1d7f" providerId="ADAL" clId="{E743E4AA-11AD-4765-83A7-99ECEACBDB7B}" dt="2025-11-14T11:24:02.841" v="422" actId="6264"/>
          <ac:spMkLst>
            <pc:docMk/>
            <pc:sldMk cId="4170498651" sldId="258"/>
            <ac:spMk id="2" creationId="{A2FC9EA2-D563-5E07-179D-68A12A28DA6A}"/>
          </ac:spMkLst>
        </pc:spChg>
        <pc:spChg chg="add del mod">
          <ac:chgData name="Arlette Simon" userId="f8e6e685-e2ee-4044-a307-57648a3e1d7f" providerId="ADAL" clId="{E743E4AA-11AD-4765-83A7-99ECEACBDB7B}" dt="2025-11-14T11:24:02.081" v="421" actId="6264"/>
          <ac:spMkLst>
            <pc:docMk/>
            <pc:sldMk cId="4170498651" sldId="258"/>
            <ac:spMk id="3" creationId="{D0E27EC8-775C-C4C2-19EA-CE0F4827C791}"/>
          </ac:spMkLst>
        </pc:spChg>
        <pc:spChg chg="mod ord">
          <ac:chgData name="Arlette Simon" userId="f8e6e685-e2ee-4044-a307-57648a3e1d7f" providerId="ADAL" clId="{E743E4AA-11AD-4765-83A7-99ECEACBDB7B}" dt="2025-11-14T11:24:02.841" v="422" actId="6264"/>
          <ac:spMkLst>
            <pc:docMk/>
            <pc:sldMk cId="4170498651" sldId="258"/>
            <ac:spMk id="4" creationId="{B58E04FE-E74E-C5A2-F06B-FA7CFDB552DE}"/>
          </ac:spMkLst>
        </pc:spChg>
        <pc:spChg chg="mod ord">
          <ac:chgData name="Arlette Simon" userId="f8e6e685-e2ee-4044-a307-57648a3e1d7f" providerId="ADAL" clId="{E743E4AA-11AD-4765-83A7-99ECEACBDB7B}" dt="2025-11-14T11:24:02.841" v="422" actId="6264"/>
          <ac:spMkLst>
            <pc:docMk/>
            <pc:sldMk cId="4170498651" sldId="258"/>
            <ac:spMk id="5" creationId="{0AA18A08-F3CA-0F2C-937D-E9909BA409DC}"/>
          </ac:spMkLst>
        </pc:spChg>
        <pc:spChg chg="add del mod">
          <ac:chgData name="Arlette Simon" userId="f8e6e685-e2ee-4044-a307-57648a3e1d7f" providerId="ADAL" clId="{E743E4AA-11AD-4765-83A7-99ECEACBDB7B}" dt="2025-11-14T11:24:02.081" v="421" actId="6264"/>
          <ac:spMkLst>
            <pc:docMk/>
            <pc:sldMk cId="4170498651" sldId="258"/>
            <ac:spMk id="6" creationId="{C7067996-9567-C13D-82E3-78B4365C0B81}"/>
          </ac:spMkLst>
        </pc:spChg>
        <pc:spChg chg="add del mod">
          <ac:chgData name="Arlette Simon" userId="f8e6e685-e2ee-4044-a307-57648a3e1d7f" providerId="ADAL" clId="{E743E4AA-11AD-4765-83A7-99ECEACBDB7B}" dt="2025-11-14T11:24:02.081" v="421" actId="6264"/>
          <ac:spMkLst>
            <pc:docMk/>
            <pc:sldMk cId="4170498651" sldId="258"/>
            <ac:spMk id="7" creationId="{1E202D42-31F0-7B07-3717-59B7664626CF}"/>
          </ac:spMkLst>
        </pc:spChg>
        <pc:spChg chg="add del mod">
          <ac:chgData name="Arlette Simon" userId="f8e6e685-e2ee-4044-a307-57648a3e1d7f" providerId="ADAL" clId="{E743E4AA-11AD-4765-83A7-99ECEACBDB7B}" dt="2025-11-14T11:24:02.081" v="421" actId="6264"/>
          <ac:spMkLst>
            <pc:docMk/>
            <pc:sldMk cId="4170498651" sldId="258"/>
            <ac:spMk id="8" creationId="{2A0AEF20-8BA2-2D4D-AC3C-E71B4D7B5AAD}"/>
          </ac:spMkLst>
        </pc:spChg>
        <pc:spChg chg="add del mod">
          <ac:chgData name="Arlette Simon" userId="f8e6e685-e2ee-4044-a307-57648a3e1d7f" providerId="ADAL" clId="{E743E4AA-11AD-4765-83A7-99ECEACBDB7B}" dt="2025-11-14T11:24:02.841" v="422" actId="6264"/>
          <ac:spMkLst>
            <pc:docMk/>
            <pc:sldMk cId="4170498651" sldId="258"/>
            <ac:spMk id="9" creationId="{E265C401-A97F-60E0-DDD7-69C8D731AECD}"/>
          </ac:spMkLst>
        </pc:spChg>
        <pc:spChg chg="add del mod">
          <ac:chgData name="Arlette Simon" userId="f8e6e685-e2ee-4044-a307-57648a3e1d7f" providerId="ADAL" clId="{E743E4AA-11AD-4765-83A7-99ECEACBDB7B}" dt="2025-11-14T11:24:02.841" v="422" actId="6264"/>
          <ac:spMkLst>
            <pc:docMk/>
            <pc:sldMk cId="4170498651" sldId="258"/>
            <ac:spMk id="10" creationId="{A2B00D3E-0D99-54C9-B262-BB9A03AA6A88}"/>
          </ac:spMkLst>
        </pc:spChg>
        <pc:spChg chg="add del mod">
          <ac:chgData name="Arlette Simon" userId="f8e6e685-e2ee-4044-a307-57648a3e1d7f" providerId="ADAL" clId="{E743E4AA-11AD-4765-83A7-99ECEACBDB7B}" dt="2025-11-14T11:24:02.841" v="422" actId="6264"/>
          <ac:spMkLst>
            <pc:docMk/>
            <pc:sldMk cId="4170498651" sldId="258"/>
            <ac:spMk id="11" creationId="{48272A4A-E041-D1DE-4AFF-8E90F1609244}"/>
          </ac:spMkLst>
        </pc:spChg>
        <pc:spChg chg="add del mod">
          <ac:chgData name="Arlette Simon" userId="f8e6e685-e2ee-4044-a307-57648a3e1d7f" providerId="ADAL" clId="{E743E4AA-11AD-4765-83A7-99ECEACBDB7B}" dt="2025-11-14T11:24:02.841" v="422" actId="6264"/>
          <ac:spMkLst>
            <pc:docMk/>
            <pc:sldMk cId="4170498651" sldId="258"/>
            <ac:spMk id="12" creationId="{E98ACA07-112C-D04D-6BC6-12A7486B9695}"/>
          </ac:spMkLst>
        </pc:spChg>
        <pc:spChg chg="mod ord">
          <ac:chgData name="Arlette Simon" userId="f8e6e685-e2ee-4044-a307-57648a3e1d7f" providerId="ADAL" clId="{E743E4AA-11AD-4765-83A7-99ECEACBDB7B}" dt="2025-11-14T11:26:44.586" v="478" actId="15"/>
          <ac:spMkLst>
            <pc:docMk/>
            <pc:sldMk cId="4170498651" sldId="258"/>
            <ac:spMk id="44" creationId="{059E2CF8-5EA5-2D8A-763A-C8D1FAEEAB6A}"/>
          </ac:spMkLst>
        </pc:spChg>
      </pc:sldChg>
      <pc:sldChg chg="addSp delSp modSp mod modClrScheme chgLayout">
        <pc:chgData name="Arlette Simon" userId="f8e6e685-e2ee-4044-a307-57648a3e1d7f" providerId="ADAL" clId="{E743E4AA-11AD-4765-83A7-99ECEACBDB7B}" dt="2025-11-14T13:20:41.745" v="525" actId="6264"/>
        <pc:sldMkLst>
          <pc:docMk/>
          <pc:sldMk cId="44821783" sldId="263"/>
        </pc:sldMkLst>
        <pc:spChg chg="mod ord">
          <ac:chgData name="Arlette Simon" userId="f8e6e685-e2ee-4044-a307-57648a3e1d7f" providerId="ADAL" clId="{E743E4AA-11AD-4765-83A7-99ECEACBDB7B}" dt="2025-11-14T13:20:41.745" v="525" actId="6264"/>
          <ac:spMkLst>
            <pc:docMk/>
            <pc:sldMk cId="44821783" sldId="263"/>
            <ac:spMk id="2" creationId="{76578F8E-3EDD-F23A-31E4-64353A400704}"/>
          </ac:spMkLst>
        </pc:spChg>
        <pc:spChg chg="mod ord">
          <ac:chgData name="Arlette Simon" userId="f8e6e685-e2ee-4044-a307-57648a3e1d7f" providerId="ADAL" clId="{E743E4AA-11AD-4765-83A7-99ECEACBDB7B}" dt="2025-11-14T13:20:41.745" v="525" actId="6264"/>
          <ac:spMkLst>
            <pc:docMk/>
            <pc:sldMk cId="44821783" sldId="263"/>
            <ac:spMk id="3" creationId="{77D83E30-AC7C-5EA1-80BD-13BC0B7219A9}"/>
          </ac:spMkLst>
        </pc:spChg>
        <pc:spChg chg="mod ord">
          <ac:chgData name="Arlette Simon" userId="f8e6e685-e2ee-4044-a307-57648a3e1d7f" providerId="ADAL" clId="{E743E4AA-11AD-4765-83A7-99ECEACBDB7B}" dt="2025-11-14T13:20:41.745" v="525" actId="6264"/>
          <ac:spMkLst>
            <pc:docMk/>
            <pc:sldMk cId="44821783" sldId="263"/>
            <ac:spMk id="4" creationId="{3BC396ED-3F20-EE74-DB55-24D78E292BC0}"/>
          </ac:spMkLst>
        </pc:spChg>
        <pc:spChg chg="mod ord">
          <ac:chgData name="Arlette Simon" userId="f8e6e685-e2ee-4044-a307-57648a3e1d7f" providerId="ADAL" clId="{E743E4AA-11AD-4765-83A7-99ECEACBDB7B}" dt="2025-11-14T13:20:41.745" v="525" actId="6264"/>
          <ac:spMkLst>
            <pc:docMk/>
            <pc:sldMk cId="44821783" sldId="263"/>
            <ac:spMk id="5" creationId="{592653B3-6D72-D7CC-962C-FF53138F5D9A}"/>
          </ac:spMkLst>
        </pc:spChg>
        <pc:spChg chg="add del mod">
          <ac:chgData name="Arlette Simon" userId="f8e6e685-e2ee-4044-a307-57648a3e1d7f" providerId="ADAL" clId="{E743E4AA-11AD-4765-83A7-99ECEACBDB7B}" dt="2025-11-14T11:28:08.110" v="511" actId="6264"/>
          <ac:spMkLst>
            <pc:docMk/>
            <pc:sldMk cId="44821783" sldId="263"/>
            <ac:spMk id="7" creationId="{05F4A42B-FC15-BF92-0040-66E61A54DD80}"/>
          </ac:spMkLst>
        </pc:spChg>
        <pc:spChg chg="add del mod">
          <ac:chgData name="Arlette Simon" userId="f8e6e685-e2ee-4044-a307-57648a3e1d7f" providerId="ADAL" clId="{E743E4AA-11AD-4765-83A7-99ECEACBDB7B}" dt="2025-11-14T11:28:08.110" v="511" actId="6264"/>
          <ac:spMkLst>
            <pc:docMk/>
            <pc:sldMk cId="44821783" sldId="263"/>
            <ac:spMk id="8" creationId="{C43B839D-9E22-8E87-4BC4-D4A1B3375AAF}"/>
          </ac:spMkLst>
        </pc:spChg>
        <pc:spChg chg="add del mod">
          <ac:chgData name="Arlette Simon" userId="f8e6e685-e2ee-4044-a307-57648a3e1d7f" providerId="ADAL" clId="{E743E4AA-11AD-4765-83A7-99ECEACBDB7B}" dt="2025-11-14T11:28:08.110" v="511" actId="6264"/>
          <ac:spMkLst>
            <pc:docMk/>
            <pc:sldMk cId="44821783" sldId="263"/>
            <ac:spMk id="9" creationId="{31C19C44-04FA-E942-0FF2-5A91B41D0E3E}"/>
          </ac:spMkLst>
        </pc:spChg>
        <pc:spChg chg="add del mod">
          <ac:chgData name="Arlette Simon" userId="f8e6e685-e2ee-4044-a307-57648a3e1d7f" providerId="ADAL" clId="{E743E4AA-11AD-4765-83A7-99ECEACBDB7B}" dt="2025-11-14T11:28:08.110" v="511" actId="6264"/>
          <ac:spMkLst>
            <pc:docMk/>
            <pc:sldMk cId="44821783" sldId="263"/>
            <ac:spMk id="10" creationId="{561F3909-4B5D-B8C9-67F5-4E2AF3C6E033}"/>
          </ac:spMkLst>
        </pc:spChg>
        <pc:spChg chg="add del mod">
          <ac:chgData name="Arlette Simon" userId="f8e6e685-e2ee-4044-a307-57648a3e1d7f" providerId="ADAL" clId="{E743E4AA-11AD-4765-83A7-99ECEACBDB7B}" dt="2025-11-14T11:28:08.110" v="511" actId="6264"/>
          <ac:spMkLst>
            <pc:docMk/>
            <pc:sldMk cId="44821783" sldId="263"/>
            <ac:spMk id="11" creationId="{58CC8805-21F4-39B4-1D31-67B332A7D5D2}"/>
          </ac:spMkLst>
        </pc:spChg>
        <pc:spChg chg="add del mod">
          <ac:chgData name="Arlette Simon" userId="f8e6e685-e2ee-4044-a307-57648a3e1d7f" providerId="ADAL" clId="{E743E4AA-11AD-4765-83A7-99ECEACBDB7B}" dt="2025-11-14T13:20:41.745" v="525" actId="6264"/>
          <ac:spMkLst>
            <pc:docMk/>
            <pc:sldMk cId="44821783" sldId="263"/>
            <ac:spMk id="12" creationId="{2C740874-0DC4-372C-B57B-2BC2B2439DA8}"/>
          </ac:spMkLst>
        </pc:spChg>
        <pc:spChg chg="add del mod">
          <ac:chgData name="Arlette Simon" userId="f8e6e685-e2ee-4044-a307-57648a3e1d7f" providerId="ADAL" clId="{E743E4AA-11AD-4765-83A7-99ECEACBDB7B}" dt="2025-11-14T13:20:41.745" v="525" actId="6264"/>
          <ac:spMkLst>
            <pc:docMk/>
            <pc:sldMk cId="44821783" sldId="263"/>
            <ac:spMk id="13" creationId="{C7636689-BA29-02B3-D8D6-1F68E92AED7D}"/>
          </ac:spMkLst>
        </pc:spChg>
        <pc:spChg chg="add del mod">
          <ac:chgData name="Arlette Simon" userId="f8e6e685-e2ee-4044-a307-57648a3e1d7f" providerId="ADAL" clId="{E743E4AA-11AD-4765-83A7-99ECEACBDB7B}" dt="2025-11-14T13:20:41.745" v="525" actId="6264"/>
          <ac:spMkLst>
            <pc:docMk/>
            <pc:sldMk cId="44821783" sldId="263"/>
            <ac:spMk id="14" creationId="{62891563-36B1-9CAD-DD25-E94D4A737E59}"/>
          </ac:spMkLst>
        </pc:spChg>
        <pc:spChg chg="add del mod">
          <ac:chgData name="Arlette Simon" userId="f8e6e685-e2ee-4044-a307-57648a3e1d7f" providerId="ADAL" clId="{E743E4AA-11AD-4765-83A7-99ECEACBDB7B}" dt="2025-11-14T13:20:41.745" v="525" actId="6264"/>
          <ac:spMkLst>
            <pc:docMk/>
            <pc:sldMk cId="44821783" sldId="263"/>
            <ac:spMk id="15" creationId="{2897E63C-B604-5D48-5961-2B5229130248}"/>
          </ac:spMkLst>
        </pc:spChg>
        <pc:spChg chg="mod ord">
          <ac:chgData name="Arlette Simon" userId="f8e6e685-e2ee-4044-a307-57648a3e1d7f" providerId="ADAL" clId="{E743E4AA-11AD-4765-83A7-99ECEACBDB7B}" dt="2025-11-14T13:20:41.745" v="525" actId="6264"/>
          <ac:spMkLst>
            <pc:docMk/>
            <pc:sldMk cId="44821783" sldId="263"/>
            <ac:spMk id="44" creationId="{6D71E745-3BF9-289E-98D6-323CE8FA9B73}"/>
          </ac:spMkLst>
        </pc:spChg>
        <pc:picChg chg="mod">
          <ac:chgData name="Arlette Simon" userId="f8e6e685-e2ee-4044-a307-57648a3e1d7f" providerId="ADAL" clId="{E743E4AA-11AD-4765-83A7-99ECEACBDB7B}" dt="2025-11-14T11:28:38.188" v="516" actId="1076"/>
          <ac:picMkLst>
            <pc:docMk/>
            <pc:sldMk cId="44821783" sldId="263"/>
            <ac:picMk id="6" creationId="{00000000-0000-0000-0000-000000000000}"/>
          </ac:picMkLst>
        </pc:picChg>
      </pc:sldChg>
      <pc:sldChg chg="addSp delSp modSp mod">
        <pc:chgData name="Arlette Simon" userId="f8e6e685-e2ee-4044-a307-57648a3e1d7f" providerId="ADAL" clId="{E743E4AA-11AD-4765-83A7-99ECEACBDB7B}" dt="2025-11-14T09:28:24.769" v="135" actId="207"/>
        <pc:sldMkLst>
          <pc:docMk/>
          <pc:sldMk cId="1047405076" sldId="265"/>
        </pc:sldMkLst>
        <pc:spChg chg="mod">
          <ac:chgData name="Arlette Simon" userId="f8e6e685-e2ee-4044-a307-57648a3e1d7f" providerId="ADAL" clId="{E743E4AA-11AD-4765-83A7-99ECEACBDB7B}" dt="2025-11-14T09:28:24.769" v="135" actId="207"/>
          <ac:spMkLst>
            <pc:docMk/>
            <pc:sldMk cId="1047405076" sldId="265"/>
            <ac:spMk id="4" creationId="{668884A7-C65D-FA37-E39D-646C5E3E1105}"/>
          </ac:spMkLst>
        </pc:spChg>
        <pc:spChg chg="del mod">
          <ac:chgData name="Arlette Simon" userId="f8e6e685-e2ee-4044-a307-57648a3e1d7f" providerId="ADAL" clId="{E743E4AA-11AD-4765-83A7-99ECEACBDB7B}" dt="2025-11-14T09:16:38.122" v="25" actId="478"/>
          <ac:spMkLst>
            <pc:docMk/>
            <pc:sldMk cId="1047405076" sldId="265"/>
            <ac:spMk id="5" creationId="{EB7B247F-33A2-E141-8F98-003EF91D4CDD}"/>
          </ac:spMkLst>
        </pc:spChg>
        <pc:spChg chg="add del">
          <ac:chgData name="Arlette Simon" userId="f8e6e685-e2ee-4044-a307-57648a3e1d7f" providerId="ADAL" clId="{E743E4AA-11AD-4765-83A7-99ECEACBDB7B}" dt="2025-11-14T09:15:45.095" v="11" actId="478"/>
          <ac:spMkLst>
            <pc:docMk/>
            <pc:sldMk cId="1047405076" sldId="265"/>
            <ac:spMk id="6" creationId="{84C881E3-F621-0534-3F54-8D995D554958}"/>
          </ac:spMkLst>
        </pc:spChg>
        <pc:spChg chg="add del">
          <ac:chgData name="Arlette Simon" userId="f8e6e685-e2ee-4044-a307-57648a3e1d7f" providerId="ADAL" clId="{E743E4AA-11AD-4765-83A7-99ECEACBDB7B}" dt="2025-11-14T09:16:03.816" v="13" actId="478"/>
          <ac:spMkLst>
            <pc:docMk/>
            <pc:sldMk cId="1047405076" sldId="265"/>
            <ac:spMk id="7" creationId="{291E1F3D-D9CA-F788-BFCE-06F069FF3541}"/>
          </ac:spMkLst>
        </pc:spChg>
        <pc:spChg chg="add mod">
          <ac:chgData name="Arlette Simon" userId="f8e6e685-e2ee-4044-a307-57648a3e1d7f" providerId="ADAL" clId="{E743E4AA-11AD-4765-83A7-99ECEACBDB7B}" dt="2025-11-14T09:28:24.769" v="135" actId="207"/>
          <ac:spMkLst>
            <pc:docMk/>
            <pc:sldMk cId="1047405076" sldId="265"/>
            <ac:spMk id="8" creationId="{3DB99CEC-7FA7-1342-12BA-C8875C36582D}"/>
          </ac:spMkLst>
        </pc:spChg>
        <pc:spChg chg="add del mod">
          <ac:chgData name="Arlette Simon" userId="f8e6e685-e2ee-4044-a307-57648a3e1d7f" providerId="ADAL" clId="{E743E4AA-11AD-4765-83A7-99ECEACBDB7B}" dt="2025-11-14T09:18:15.406" v="64" actId="11529"/>
          <ac:spMkLst>
            <pc:docMk/>
            <pc:sldMk cId="1047405076" sldId="265"/>
            <ac:spMk id="9" creationId="{0055533D-C60B-508B-7122-7B9128A8127C}"/>
          </ac:spMkLst>
        </pc:spChg>
        <pc:spChg chg="add mod">
          <ac:chgData name="Arlette Simon" userId="f8e6e685-e2ee-4044-a307-57648a3e1d7f" providerId="ADAL" clId="{E743E4AA-11AD-4765-83A7-99ECEACBDB7B}" dt="2025-11-14T09:18:11.181" v="56" actId="571"/>
          <ac:spMkLst>
            <pc:docMk/>
            <pc:sldMk cId="1047405076" sldId="265"/>
            <ac:spMk id="10" creationId="{BF41780E-D11C-35B5-C43C-C52226F49545}"/>
          </ac:spMkLst>
        </pc:spChg>
        <pc:grpChg chg="add mod">
          <ac:chgData name="Arlette Simon" userId="f8e6e685-e2ee-4044-a307-57648a3e1d7f" providerId="ADAL" clId="{E743E4AA-11AD-4765-83A7-99ECEACBDB7B}" dt="2025-11-14T09:18:10.565" v="54" actId="164"/>
          <ac:grpSpMkLst>
            <pc:docMk/>
            <pc:sldMk cId="1047405076" sldId="265"/>
            <ac:grpSpMk id="11" creationId="{E94136F1-8128-E5E8-13E8-9D6861631764}"/>
          </ac:grpSpMkLst>
        </pc:grpChg>
        <pc:grpChg chg="add mod">
          <ac:chgData name="Arlette Simon" userId="f8e6e685-e2ee-4044-a307-57648a3e1d7f" providerId="ADAL" clId="{E743E4AA-11AD-4765-83A7-99ECEACBDB7B}" dt="2025-11-14T09:18:10.105" v="53" actId="164"/>
          <ac:grpSpMkLst>
            <pc:docMk/>
            <pc:sldMk cId="1047405076" sldId="265"/>
            <ac:grpSpMk id="12" creationId="{CD199939-3520-F3E1-A27A-823E567EC166}"/>
          </ac:grpSpMkLst>
        </pc:grpChg>
      </pc:sldChg>
      <pc:sldChg chg="modSp mod">
        <pc:chgData name="Arlette Simon" userId="f8e6e685-e2ee-4044-a307-57648a3e1d7f" providerId="ADAL" clId="{E743E4AA-11AD-4765-83A7-99ECEACBDB7B}" dt="2025-11-14T14:43:10.259" v="1011" actId="14100"/>
        <pc:sldMkLst>
          <pc:docMk/>
          <pc:sldMk cId="56156131" sldId="266"/>
        </pc:sldMkLst>
        <pc:spChg chg="mod">
          <ac:chgData name="Arlette Simon" userId="f8e6e685-e2ee-4044-a307-57648a3e1d7f" providerId="ADAL" clId="{E743E4AA-11AD-4765-83A7-99ECEACBDB7B}" dt="2025-11-14T09:20:13.202" v="82" actId="14100"/>
          <ac:spMkLst>
            <pc:docMk/>
            <pc:sldMk cId="56156131" sldId="266"/>
            <ac:spMk id="3" creationId="{11EC992E-B03E-3BC0-EEA0-ADC911997ED9}"/>
          </ac:spMkLst>
        </pc:spChg>
        <pc:spChg chg="mod">
          <ac:chgData name="Arlette Simon" userId="f8e6e685-e2ee-4044-a307-57648a3e1d7f" providerId="ADAL" clId="{E743E4AA-11AD-4765-83A7-99ECEACBDB7B}" dt="2025-11-14T09:30:40.644" v="165" actId="14100"/>
          <ac:spMkLst>
            <pc:docMk/>
            <pc:sldMk cId="56156131" sldId="266"/>
            <ac:spMk id="4" creationId="{9000556B-86C1-2B8E-1A12-6158C5345ADE}"/>
          </ac:spMkLst>
        </pc:spChg>
        <pc:spChg chg="mod">
          <ac:chgData name="Arlette Simon" userId="f8e6e685-e2ee-4044-a307-57648a3e1d7f" providerId="ADAL" clId="{E743E4AA-11AD-4765-83A7-99ECEACBDB7B}" dt="2025-11-14T09:30:50.946" v="166" actId="14100"/>
          <ac:spMkLst>
            <pc:docMk/>
            <pc:sldMk cId="56156131" sldId="266"/>
            <ac:spMk id="5" creationId="{BDAAF81F-DDCE-FB06-D354-BF353CC89D89}"/>
          </ac:spMkLst>
        </pc:spChg>
        <pc:spChg chg="mod">
          <ac:chgData name="Arlette Simon" userId="f8e6e685-e2ee-4044-a307-57648a3e1d7f" providerId="ADAL" clId="{E743E4AA-11AD-4765-83A7-99ECEACBDB7B}" dt="2025-11-14T09:31:00.465" v="167" actId="14100"/>
          <ac:spMkLst>
            <pc:docMk/>
            <pc:sldMk cId="56156131" sldId="266"/>
            <ac:spMk id="6" creationId="{D1A53899-C233-5506-058D-2ACDE2EC4633}"/>
          </ac:spMkLst>
        </pc:spChg>
        <pc:spChg chg="mod">
          <ac:chgData name="Arlette Simon" userId="f8e6e685-e2ee-4044-a307-57648a3e1d7f" providerId="ADAL" clId="{E743E4AA-11AD-4765-83A7-99ECEACBDB7B}" dt="2025-11-14T14:43:05.792" v="1010" actId="14100"/>
          <ac:spMkLst>
            <pc:docMk/>
            <pc:sldMk cId="56156131" sldId="266"/>
            <ac:spMk id="7" creationId="{C4739D83-6C93-9D43-B6ED-43865ECEC8CF}"/>
          </ac:spMkLst>
        </pc:spChg>
        <pc:spChg chg="mod">
          <ac:chgData name="Arlette Simon" userId="f8e6e685-e2ee-4044-a307-57648a3e1d7f" providerId="ADAL" clId="{E743E4AA-11AD-4765-83A7-99ECEACBDB7B}" dt="2025-11-14T14:43:10.259" v="1011" actId="14100"/>
          <ac:spMkLst>
            <pc:docMk/>
            <pc:sldMk cId="56156131" sldId="266"/>
            <ac:spMk id="8" creationId="{F6F28EBB-9477-9451-DFB4-FEC34C81E962}"/>
          </ac:spMkLst>
        </pc:spChg>
      </pc:sldChg>
      <pc:sldChg chg="modSp mod">
        <pc:chgData name="Arlette Simon" userId="f8e6e685-e2ee-4044-a307-57648a3e1d7f" providerId="ADAL" clId="{E743E4AA-11AD-4765-83A7-99ECEACBDB7B}" dt="2025-11-14T09:32:52.623" v="186" actId="14100"/>
        <pc:sldMkLst>
          <pc:docMk/>
          <pc:sldMk cId="2994994204" sldId="267"/>
        </pc:sldMkLst>
        <pc:spChg chg="mod">
          <ac:chgData name="Arlette Simon" userId="f8e6e685-e2ee-4044-a307-57648a3e1d7f" providerId="ADAL" clId="{E743E4AA-11AD-4765-83A7-99ECEACBDB7B}" dt="2025-11-14T09:32:44.076" v="184" actId="14100"/>
          <ac:spMkLst>
            <pc:docMk/>
            <pc:sldMk cId="2994994204" sldId="267"/>
            <ac:spMk id="4" creationId="{FF541911-6E67-1D7B-254C-B10DBECE1ECE}"/>
          </ac:spMkLst>
        </pc:spChg>
        <pc:spChg chg="mod">
          <ac:chgData name="Arlette Simon" userId="f8e6e685-e2ee-4044-a307-57648a3e1d7f" providerId="ADAL" clId="{E743E4AA-11AD-4765-83A7-99ECEACBDB7B}" dt="2025-11-14T09:32:36.317" v="182" actId="14100"/>
          <ac:spMkLst>
            <pc:docMk/>
            <pc:sldMk cId="2994994204" sldId="267"/>
            <ac:spMk id="5" creationId="{87114C21-DF75-ACED-16E0-91F4F3A9B330}"/>
          </ac:spMkLst>
        </pc:spChg>
        <pc:spChg chg="mod">
          <ac:chgData name="Arlette Simon" userId="f8e6e685-e2ee-4044-a307-57648a3e1d7f" providerId="ADAL" clId="{E743E4AA-11AD-4765-83A7-99ECEACBDB7B}" dt="2025-11-14T09:32:52.623" v="186" actId="14100"/>
          <ac:spMkLst>
            <pc:docMk/>
            <pc:sldMk cId="2994994204" sldId="267"/>
            <ac:spMk id="6" creationId="{EA68521E-F27C-AC77-F3A8-3751B7A0FE0C}"/>
          </ac:spMkLst>
        </pc:spChg>
      </pc:sldChg>
      <pc:sldChg chg="addSp delSp modSp mod chgLayout">
        <pc:chgData name="Arlette Simon" userId="f8e6e685-e2ee-4044-a307-57648a3e1d7f" providerId="ADAL" clId="{E743E4AA-11AD-4765-83A7-99ECEACBDB7B}" dt="2025-11-14T09:28:34.935" v="137" actId="207"/>
        <pc:sldMkLst>
          <pc:docMk/>
          <pc:sldMk cId="3488436471" sldId="268"/>
        </pc:sldMkLst>
        <pc:spChg chg="mod ord">
          <ac:chgData name="Arlette Simon" userId="f8e6e685-e2ee-4044-a307-57648a3e1d7f" providerId="ADAL" clId="{E743E4AA-11AD-4765-83A7-99ECEACBDB7B}" dt="2025-11-14T09:24:46.676" v="100" actId="6264"/>
          <ac:spMkLst>
            <pc:docMk/>
            <pc:sldMk cId="3488436471" sldId="268"/>
            <ac:spMk id="2" creationId="{804D6912-71C9-5A1D-376D-90EBD303CC47}"/>
          </ac:spMkLst>
        </pc:spChg>
        <pc:spChg chg="mod ord">
          <ac:chgData name="Arlette Simon" userId="f8e6e685-e2ee-4044-a307-57648a3e1d7f" providerId="ADAL" clId="{E743E4AA-11AD-4765-83A7-99ECEACBDB7B}" dt="2025-11-14T09:24:46.676" v="100" actId="6264"/>
          <ac:spMkLst>
            <pc:docMk/>
            <pc:sldMk cId="3488436471" sldId="268"/>
            <ac:spMk id="3" creationId="{5615D8AA-53A6-99CC-C66E-AB4D90DDE3D4}"/>
          </ac:spMkLst>
        </pc:spChg>
        <pc:spChg chg="mod">
          <ac:chgData name="Arlette Simon" userId="f8e6e685-e2ee-4044-a307-57648a3e1d7f" providerId="ADAL" clId="{E743E4AA-11AD-4765-83A7-99ECEACBDB7B}" dt="2025-11-14T09:28:34.935" v="137" actId="207"/>
          <ac:spMkLst>
            <pc:docMk/>
            <pc:sldMk cId="3488436471" sldId="268"/>
            <ac:spMk id="4" creationId="{281B39D7-0FE5-8FF9-F0A9-B572AB9E33AA}"/>
          </ac:spMkLst>
        </pc:spChg>
        <pc:spChg chg="mod">
          <ac:chgData name="Arlette Simon" userId="f8e6e685-e2ee-4044-a307-57648a3e1d7f" providerId="ADAL" clId="{E743E4AA-11AD-4765-83A7-99ECEACBDB7B}" dt="2025-11-14T09:28:34.935" v="137" actId="207"/>
          <ac:spMkLst>
            <pc:docMk/>
            <pc:sldMk cId="3488436471" sldId="268"/>
            <ac:spMk id="5" creationId="{F57AF791-2378-EEB9-560B-2B0EC1757AAC}"/>
          </ac:spMkLst>
        </pc:spChg>
        <pc:spChg chg="add del mod">
          <ac:chgData name="Arlette Simon" userId="f8e6e685-e2ee-4044-a307-57648a3e1d7f" providerId="ADAL" clId="{E743E4AA-11AD-4765-83A7-99ECEACBDB7B}" dt="2025-11-14T09:24:46.676" v="100" actId="6264"/>
          <ac:spMkLst>
            <pc:docMk/>
            <pc:sldMk cId="3488436471" sldId="268"/>
            <ac:spMk id="6" creationId="{26F4AB56-1DF5-408E-F33D-156F2A61611F}"/>
          </ac:spMkLst>
        </pc:spChg>
        <pc:spChg chg="add del mod">
          <ac:chgData name="Arlette Simon" userId="f8e6e685-e2ee-4044-a307-57648a3e1d7f" providerId="ADAL" clId="{E743E4AA-11AD-4765-83A7-99ECEACBDB7B}" dt="2025-11-14T09:24:46.676" v="100" actId="6264"/>
          <ac:spMkLst>
            <pc:docMk/>
            <pc:sldMk cId="3488436471" sldId="268"/>
            <ac:spMk id="7" creationId="{7992AEFE-371D-9061-0B89-2A597C628E9D}"/>
          </ac:spMkLst>
        </pc:spChg>
      </pc:sldChg>
      <pc:sldChg chg="addSp delSp modSp mod chgLayout">
        <pc:chgData name="Arlette Simon" userId="f8e6e685-e2ee-4044-a307-57648a3e1d7f" providerId="ADAL" clId="{E743E4AA-11AD-4765-83A7-99ECEACBDB7B}" dt="2025-11-14T09:33:35.518" v="187" actId="6264"/>
        <pc:sldMkLst>
          <pc:docMk/>
          <pc:sldMk cId="3603726036" sldId="269"/>
        </pc:sldMkLst>
        <pc:spChg chg="mod ord">
          <ac:chgData name="Arlette Simon" userId="f8e6e685-e2ee-4044-a307-57648a3e1d7f" providerId="ADAL" clId="{E743E4AA-11AD-4765-83A7-99ECEACBDB7B}" dt="2025-11-14T09:33:35.518" v="187" actId="6264"/>
          <ac:spMkLst>
            <pc:docMk/>
            <pc:sldMk cId="3603726036" sldId="269"/>
            <ac:spMk id="2" creationId="{3C901923-131E-A25A-28D0-2749DAEB3C9C}"/>
          </ac:spMkLst>
        </pc:spChg>
        <pc:spChg chg="add del mod">
          <ac:chgData name="Arlette Simon" userId="f8e6e685-e2ee-4044-a307-57648a3e1d7f" providerId="ADAL" clId="{E743E4AA-11AD-4765-83A7-99ECEACBDB7B}" dt="2025-11-14T09:33:35.518" v="187" actId="6264"/>
          <ac:spMkLst>
            <pc:docMk/>
            <pc:sldMk cId="3603726036" sldId="269"/>
            <ac:spMk id="3" creationId="{39E4C1F9-41E9-01B7-7DA8-3DE5924F8C7B}"/>
          </ac:spMkLst>
        </pc:spChg>
      </pc:sldChg>
      <pc:sldChg chg="addSp delSp modSp mod chgLayout">
        <pc:chgData name="Arlette Simon" userId="f8e6e685-e2ee-4044-a307-57648a3e1d7f" providerId="ADAL" clId="{E743E4AA-11AD-4765-83A7-99ECEACBDB7B}" dt="2025-11-14T14:47:07.086" v="1017" actId="20577"/>
        <pc:sldMkLst>
          <pc:docMk/>
          <pc:sldMk cId="824607961" sldId="270"/>
        </pc:sldMkLst>
        <pc:spChg chg="add del mod">
          <ac:chgData name="Arlette Simon" userId="f8e6e685-e2ee-4044-a307-57648a3e1d7f" providerId="ADAL" clId="{E743E4AA-11AD-4765-83A7-99ECEACBDB7B}" dt="2025-11-14T10:47:48.360" v="273" actId="6264"/>
          <ac:spMkLst>
            <pc:docMk/>
            <pc:sldMk cId="824607961" sldId="270"/>
            <ac:spMk id="2" creationId="{58A63279-C724-E229-6ABD-D70A007A0AA8}"/>
          </ac:spMkLst>
        </pc:spChg>
        <pc:spChg chg="del mod ord">
          <ac:chgData name="Arlette Simon" userId="f8e6e685-e2ee-4044-a307-57648a3e1d7f" providerId="ADAL" clId="{E743E4AA-11AD-4765-83A7-99ECEACBDB7B}" dt="2025-11-14T14:46:55.420" v="1014" actId="478"/>
          <ac:spMkLst>
            <pc:docMk/>
            <pc:sldMk cId="824607961" sldId="270"/>
            <ac:spMk id="3" creationId="{540E93A2-9760-5FE8-7048-4DEEB37499EC}"/>
          </ac:spMkLst>
        </pc:spChg>
        <pc:spChg chg="add del mod ord">
          <ac:chgData name="Arlette Simon" userId="f8e6e685-e2ee-4044-a307-57648a3e1d7f" providerId="ADAL" clId="{E743E4AA-11AD-4765-83A7-99ECEACBDB7B}" dt="2025-11-14T10:47:54.130" v="275" actId="478"/>
          <ac:spMkLst>
            <pc:docMk/>
            <pc:sldMk cId="824607961" sldId="270"/>
            <ac:spMk id="4" creationId="{4295C1AC-E9D8-D9AD-9DEB-DFB52019BE1A}"/>
          </ac:spMkLst>
        </pc:spChg>
        <pc:spChg chg="add mod">
          <ac:chgData name="Arlette Simon" userId="f8e6e685-e2ee-4044-a307-57648a3e1d7f" providerId="ADAL" clId="{E743E4AA-11AD-4765-83A7-99ECEACBDB7B}" dt="2025-11-14T14:47:07.086" v="1017" actId="20577"/>
          <ac:spMkLst>
            <pc:docMk/>
            <pc:sldMk cId="824607961" sldId="270"/>
            <ac:spMk id="5" creationId="{338484C4-1B75-9497-6D85-5BF340EDA1C3}"/>
          </ac:spMkLst>
        </pc:spChg>
        <pc:spChg chg="add del mod">
          <ac:chgData name="Arlette Simon" userId="f8e6e685-e2ee-4044-a307-57648a3e1d7f" providerId="ADAL" clId="{E743E4AA-11AD-4765-83A7-99ECEACBDB7B}" dt="2025-11-14T14:46:56.998" v="1015" actId="478"/>
          <ac:spMkLst>
            <pc:docMk/>
            <pc:sldMk cId="824607961" sldId="270"/>
            <ac:spMk id="7" creationId="{31FC4BAC-781F-96A9-F2C1-2AC5C0B71AD1}"/>
          </ac:spMkLst>
        </pc:spChg>
        <pc:picChg chg="mod">
          <ac:chgData name="Arlette Simon" userId="f8e6e685-e2ee-4044-a307-57648a3e1d7f" providerId="ADAL" clId="{E743E4AA-11AD-4765-83A7-99ECEACBDB7B}" dt="2025-11-14T10:48:02.329" v="277" actId="1076"/>
          <ac:picMkLst>
            <pc:docMk/>
            <pc:sldMk cId="824607961" sldId="270"/>
            <ac:picMk id="10" creationId="{380A2BCE-D9A7-EA89-12C3-674D21FDC763}"/>
          </ac:picMkLst>
        </pc:picChg>
      </pc:sldChg>
      <pc:sldChg chg="modSp mod">
        <pc:chgData name="Arlette Simon" userId="f8e6e685-e2ee-4044-a307-57648a3e1d7f" providerId="ADAL" clId="{E743E4AA-11AD-4765-83A7-99ECEACBDB7B}" dt="2025-11-14T10:49:07.958" v="288" actId="20577"/>
        <pc:sldMkLst>
          <pc:docMk/>
          <pc:sldMk cId="2314707806" sldId="271"/>
        </pc:sldMkLst>
        <pc:spChg chg="mod">
          <ac:chgData name="Arlette Simon" userId="f8e6e685-e2ee-4044-a307-57648a3e1d7f" providerId="ADAL" clId="{E743E4AA-11AD-4765-83A7-99ECEACBDB7B}" dt="2025-11-14T10:49:07.958" v="288" actId="20577"/>
          <ac:spMkLst>
            <pc:docMk/>
            <pc:sldMk cId="2314707806" sldId="271"/>
            <ac:spMk id="3" creationId="{F8FD650F-5425-94D0-6865-ABFD242008D3}"/>
          </ac:spMkLst>
        </pc:spChg>
      </pc:sldChg>
      <pc:sldChg chg="addSp delSp modSp mod chgLayout">
        <pc:chgData name="Arlette Simon" userId="f8e6e685-e2ee-4044-a307-57648a3e1d7f" providerId="ADAL" clId="{E743E4AA-11AD-4765-83A7-99ECEACBDB7B}" dt="2025-11-14T10:49:18.658" v="292"/>
        <pc:sldMkLst>
          <pc:docMk/>
          <pc:sldMk cId="3254721516" sldId="272"/>
        </pc:sldMkLst>
        <pc:spChg chg="mod ord">
          <ac:chgData name="Arlette Simon" userId="f8e6e685-e2ee-4044-a307-57648a3e1d7f" providerId="ADAL" clId="{E743E4AA-11AD-4765-83A7-99ECEACBDB7B}" dt="2025-11-14T10:49:12.064" v="289" actId="6264"/>
          <ac:spMkLst>
            <pc:docMk/>
            <pc:sldMk cId="3254721516" sldId="272"/>
            <ac:spMk id="2" creationId="{09A3060D-61AC-DAC0-F009-48B5F0139DE9}"/>
          </ac:spMkLst>
        </pc:spChg>
        <pc:spChg chg="add del mod">
          <ac:chgData name="Arlette Simon" userId="f8e6e685-e2ee-4044-a307-57648a3e1d7f" providerId="ADAL" clId="{E743E4AA-11AD-4765-83A7-99ECEACBDB7B}" dt="2025-11-14T10:49:12.064" v="289" actId="6264"/>
          <ac:spMkLst>
            <pc:docMk/>
            <pc:sldMk cId="3254721516" sldId="272"/>
            <ac:spMk id="3" creationId="{7F8F7DB5-54C1-F8A9-C9BC-8AA88B91A679}"/>
          </ac:spMkLst>
        </pc:spChg>
        <pc:spChg chg="add del mod">
          <ac:chgData name="Arlette Simon" userId="f8e6e685-e2ee-4044-a307-57648a3e1d7f" providerId="ADAL" clId="{E743E4AA-11AD-4765-83A7-99ECEACBDB7B}" dt="2025-11-14T10:49:12.064" v="289" actId="6264"/>
          <ac:spMkLst>
            <pc:docMk/>
            <pc:sldMk cId="3254721516" sldId="272"/>
            <ac:spMk id="4" creationId="{D46F3672-3297-EE2A-B36B-D3ECE1E8E564}"/>
          </ac:spMkLst>
        </pc:spChg>
        <pc:picChg chg="mod ord">
          <ac:chgData name="Arlette Simon" userId="f8e6e685-e2ee-4044-a307-57648a3e1d7f" providerId="ADAL" clId="{E743E4AA-11AD-4765-83A7-99ECEACBDB7B}" dt="2025-11-14T10:49:18.658" v="292"/>
          <ac:picMkLst>
            <pc:docMk/>
            <pc:sldMk cId="3254721516" sldId="272"/>
            <ac:picMk id="5" creationId="{2EF84CD3-3B31-30AF-65FE-41308A888980}"/>
          </ac:picMkLst>
        </pc:picChg>
      </pc:sldChg>
      <pc:sldChg chg="modSp mod">
        <pc:chgData name="Arlette Simon" userId="f8e6e685-e2ee-4044-a307-57648a3e1d7f" providerId="ADAL" clId="{E743E4AA-11AD-4765-83A7-99ECEACBDB7B}" dt="2025-11-14T10:49:36.786" v="298"/>
        <pc:sldMkLst>
          <pc:docMk/>
          <pc:sldMk cId="156751999" sldId="273"/>
        </pc:sldMkLst>
        <pc:picChg chg="mod">
          <ac:chgData name="Arlette Simon" userId="f8e6e685-e2ee-4044-a307-57648a3e1d7f" providerId="ADAL" clId="{E743E4AA-11AD-4765-83A7-99ECEACBDB7B}" dt="2025-11-14T10:49:36.786" v="298"/>
          <ac:picMkLst>
            <pc:docMk/>
            <pc:sldMk cId="156751999" sldId="273"/>
            <ac:picMk id="7" creationId="{880328DF-65A8-F06E-ADF6-EB3AC2044C52}"/>
          </ac:picMkLst>
        </pc:picChg>
      </pc:sldChg>
      <pc:sldChg chg="modSp mod">
        <pc:chgData name="Arlette Simon" userId="f8e6e685-e2ee-4044-a307-57648a3e1d7f" providerId="ADAL" clId="{E743E4AA-11AD-4765-83A7-99ECEACBDB7B}" dt="2025-11-14T10:49:51.652" v="304"/>
        <pc:sldMkLst>
          <pc:docMk/>
          <pc:sldMk cId="3987754512" sldId="274"/>
        </pc:sldMkLst>
        <pc:picChg chg="mod">
          <ac:chgData name="Arlette Simon" userId="f8e6e685-e2ee-4044-a307-57648a3e1d7f" providerId="ADAL" clId="{E743E4AA-11AD-4765-83A7-99ECEACBDB7B}" dt="2025-11-14T10:49:51.652" v="304"/>
          <ac:picMkLst>
            <pc:docMk/>
            <pc:sldMk cId="3987754512" sldId="274"/>
            <ac:picMk id="5" creationId="{F76F26ED-68F6-569C-3F3F-1986E7942716}"/>
          </ac:picMkLst>
        </pc:picChg>
      </pc:sldChg>
      <pc:sldChg chg="addSp delSp modSp mod">
        <pc:chgData name="Arlette Simon" userId="f8e6e685-e2ee-4044-a307-57648a3e1d7f" providerId="ADAL" clId="{E743E4AA-11AD-4765-83A7-99ECEACBDB7B}" dt="2025-11-14T11:11:17.390" v="394" actId="122"/>
        <pc:sldMkLst>
          <pc:docMk/>
          <pc:sldMk cId="3056925585" sldId="275"/>
        </pc:sldMkLst>
        <pc:spChg chg="add mod">
          <ac:chgData name="Arlette Simon" userId="f8e6e685-e2ee-4044-a307-57648a3e1d7f" providerId="ADAL" clId="{E743E4AA-11AD-4765-83A7-99ECEACBDB7B}" dt="2025-11-14T11:10:09.658" v="368"/>
          <ac:spMkLst>
            <pc:docMk/>
            <pc:sldMk cId="3056925585" sldId="275"/>
            <ac:spMk id="3" creationId="{A4EE64A9-9F61-3D28-11BD-F2688AB8C35C}"/>
          </ac:spMkLst>
        </pc:spChg>
        <pc:spChg chg="add mod">
          <ac:chgData name="Arlette Simon" userId="f8e6e685-e2ee-4044-a307-57648a3e1d7f" providerId="ADAL" clId="{E743E4AA-11AD-4765-83A7-99ECEACBDB7B}" dt="2025-11-14T11:10:09.658" v="368"/>
          <ac:spMkLst>
            <pc:docMk/>
            <pc:sldMk cId="3056925585" sldId="275"/>
            <ac:spMk id="4" creationId="{D0154B0D-2BE4-9694-B909-DAF26AD1B4FD}"/>
          </ac:spMkLst>
        </pc:spChg>
        <pc:spChg chg="add mod">
          <ac:chgData name="Arlette Simon" userId="f8e6e685-e2ee-4044-a307-57648a3e1d7f" providerId="ADAL" clId="{E743E4AA-11AD-4765-83A7-99ECEACBDB7B}" dt="2025-11-14T11:10:18.898" v="370"/>
          <ac:spMkLst>
            <pc:docMk/>
            <pc:sldMk cId="3056925585" sldId="275"/>
            <ac:spMk id="5" creationId="{389851AF-811E-896F-CC18-B5777F19E52F}"/>
          </ac:spMkLst>
        </pc:spChg>
        <pc:spChg chg="add mod">
          <ac:chgData name="Arlette Simon" userId="f8e6e685-e2ee-4044-a307-57648a3e1d7f" providerId="ADAL" clId="{E743E4AA-11AD-4765-83A7-99ECEACBDB7B}" dt="2025-11-14T11:10:09.658" v="368"/>
          <ac:spMkLst>
            <pc:docMk/>
            <pc:sldMk cId="3056925585" sldId="275"/>
            <ac:spMk id="6" creationId="{2AAD6B70-D42C-0EB8-4C71-8D770FB80F17}"/>
          </ac:spMkLst>
        </pc:spChg>
        <pc:spChg chg="add mod">
          <ac:chgData name="Arlette Simon" userId="f8e6e685-e2ee-4044-a307-57648a3e1d7f" providerId="ADAL" clId="{E743E4AA-11AD-4765-83A7-99ECEACBDB7B}" dt="2025-11-14T11:10:41.138" v="376"/>
          <ac:spMkLst>
            <pc:docMk/>
            <pc:sldMk cId="3056925585" sldId="275"/>
            <ac:spMk id="7" creationId="{949FA79D-F772-32BA-5275-2D56F0A35FC1}"/>
          </ac:spMkLst>
        </pc:spChg>
        <pc:spChg chg="mod">
          <ac:chgData name="Arlette Simon" userId="f8e6e685-e2ee-4044-a307-57648a3e1d7f" providerId="ADAL" clId="{E743E4AA-11AD-4765-83A7-99ECEACBDB7B}" dt="2025-11-14T11:11:17.390" v="394" actId="122"/>
          <ac:spMkLst>
            <pc:docMk/>
            <pc:sldMk cId="3056925585" sldId="275"/>
            <ac:spMk id="11" creationId="{5A674AE2-B5AD-5E1E-3CEF-88A4A5FEE4AB}"/>
          </ac:spMkLst>
        </pc:spChg>
        <pc:spChg chg="mod">
          <ac:chgData name="Arlette Simon" userId="f8e6e685-e2ee-4044-a307-57648a3e1d7f" providerId="ADAL" clId="{E743E4AA-11AD-4765-83A7-99ECEACBDB7B}" dt="2025-11-14T11:11:12.494" v="391" actId="1035"/>
          <ac:spMkLst>
            <pc:docMk/>
            <pc:sldMk cId="3056925585" sldId="275"/>
            <ac:spMk id="12" creationId="{DDB60168-0BBF-CB23-AE19-921B0BD4BB95}"/>
          </ac:spMkLst>
        </pc:spChg>
        <pc:spChg chg="add mod">
          <ac:chgData name="Arlette Simon" userId="f8e6e685-e2ee-4044-a307-57648a3e1d7f" providerId="ADAL" clId="{E743E4AA-11AD-4765-83A7-99ECEACBDB7B}" dt="2025-11-14T11:10:09.658" v="368"/>
          <ac:spMkLst>
            <pc:docMk/>
            <pc:sldMk cId="3056925585" sldId="275"/>
            <ac:spMk id="13" creationId="{D3FBBB0E-DD2C-5BC9-01AE-7CEB2B23C564}"/>
          </ac:spMkLst>
        </pc:spChg>
        <pc:spChg chg="add mod">
          <ac:chgData name="Arlette Simon" userId="f8e6e685-e2ee-4044-a307-57648a3e1d7f" providerId="ADAL" clId="{E743E4AA-11AD-4765-83A7-99ECEACBDB7B}" dt="2025-11-14T11:10:09.658" v="368"/>
          <ac:spMkLst>
            <pc:docMk/>
            <pc:sldMk cId="3056925585" sldId="275"/>
            <ac:spMk id="14" creationId="{314DDA9F-B101-8C00-FBF6-B2E3816257FC}"/>
          </ac:spMkLst>
        </pc:spChg>
        <pc:spChg chg="add mod">
          <ac:chgData name="Arlette Simon" userId="f8e6e685-e2ee-4044-a307-57648a3e1d7f" providerId="ADAL" clId="{E743E4AA-11AD-4765-83A7-99ECEACBDB7B}" dt="2025-11-14T11:10:25.988" v="372"/>
          <ac:spMkLst>
            <pc:docMk/>
            <pc:sldMk cId="3056925585" sldId="275"/>
            <ac:spMk id="15" creationId="{0C890B2E-BCAE-BA7C-7447-3E0A9CF7EF4F}"/>
          </ac:spMkLst>
        </pc:spChg>
        <pc:spChg chg="add mod">
          <ac:chgData name="Arlette Simon" userId="f8e6e685-e2ee-4044-a307-57648a3e1d7f" providerId="ADAL" clId="{E743E4AA-11AD-4765-83A7-99ECEACBDB7B}" dt="2025-11-14T11:10:09.658" v="368"/>
          <ac:spMkLst>
            <pc:docMk/>
            <pc:sldMk cId="3056925585" sldId="275"/>
            <ac:spMk id="16" creationId="{71BCAF5C-EF33-487A-B32F-18C426D1C75E}"/>
          </ac:spMkLst>
        </pc:spChg>
        <pc:spChg chg="add mod">
          <ac:chgData name="Arlette Simon" userId="f8e6e685-e2ee-4044-a307-57648a3e1d7f" providerId="ADAL" clId="{E743E4AA-11AD-4765-83A7-99ECEACBDB7B}" dt="2025-11-14T11:10:33.818" v="374"/>
          <ac:spMkLst>
            <pc:docMk/>
            <pc:sldMk cId="3056925585" sldId="275"/>
            <ac:spMk id="17" creationId="{4EA752BB-A19D-7411-5997-5DD8969442A4}"/>
          </ac:spMkLst>
        </pc:spChg>
        <pc:spChg chg="add del mod">
          <ac:chgData name="Arlette Simon" userId="f8e6e685-e2ee-4044-a307-57648a3e1d7f" providerId="ADAL" clId="{E743E4AA-11AD-4765-83A7-99ECEACBDB7B}" dt="2025-11-14T11:10:55.329" v="378" actId="478"/>
          <ac:spMkLst>
            <pc:docMk/>
            <pc:sldMk cId="3056925585" sldId="275"/>
            <ac:spMk id="21" creationId="{BD601583-6A40-C113-64D7-5705D87DF9AD}"/>
          </ac:spMkLst>
        </pc:spChg>
        <pc:spChg chg="add del mod">
          <ac:chgData name="Arlette Simon" userId="f8e6e685-e2ee-4044-a307-57648a3e1d7f" providerId="ADAL" clId="{E743E4AA-11AD-4765-83A7-99ECEACBDB7B}" dt="2025-11-14T11:11:02.670" v="383" actId="478"/>
          <ac:spMkLst>
            <pc:docMk/>
            <pc:sldMk cId="3056925585" sldId="275"/>
            <ac:spMk id="23" creationId="{4D165F8B-BC54-9631-5891-F23E1CFDB411}"/>
          </ac:spMkLst>
        </pc:spChg>
        <pc:graphicFrameChg chg="del mod">
          <ac:chgData name="Arlette Simon" userId="f8e6e685-e2ee-4044-a307-57648a3e1d7f" providerId="ADAL" clId="{E743E4AA-11AD-4765-83A7-99ECEACBDB7B}" dt="2025-11-14T11:10:52.421" v="377" actId="478"/>
          <ac:graphicFrameMkLst>
            <pc:docMk/>
            <pc:sldMk cId="3056925585" sldId="275"/>
            <ac:graphicFrameMk id="9" creationId="{F9DCC349-FD7A-0851-1ED5-031726435389}"/>
          </ac:graphicFrameMkLst>
        </pc:graphicFrameChg>
        <pc:graphicFrameChg chg="del mod">
          <ac:chgData name="Arlette Simon" userId="f8e6e685-e2ee-4044-a307-57648a3e1d7f" providerId="ADAL" clId="{E743E4AA-11AD-4765-83A7-99ECEACBDB7B}" dt="2025-11-14T11:11:00.520" v="382" actId="478"/>
          <ac:graphicFrameMkLst>
            <pc:docMk/>
            <pc:sldMk cId="3056925585" sldId="275"/>
            <ac:graphicFrameMk id="10" creationId="{02338C7E-650A-A842-305C-824A05BF261C}"/>
          </ac:graphicFrameMkLst>
        </pc:graphicFrameChg>
      </pc:sldChg>
      <pc:sldChg chg="addSp delSp modSp mod chgLayout">
        <pc:chgData name="Arlette Simon" userId="f8e6e685-e2ee-4044-a307-57648a3e1d7f" providerId="ADAL" clId="{E743E4AA-11AD-4765-83A7-99ECEACBDB7B}" dt="2025-11-14T11:09:50.131" v="366" actId="207"/>
        <pc:sldMkLst>
          <pc:docMk/>
          <pc:sldMk cId="2929654351" sldId="276"/>
        </pc:sldMkLst>
        <pc:spChg chg="mod ord">
          <ac:chgData name="Arlette Simon" userId="f8e6e685-e2ee-4044-a307-57648a3e1d7f" providerId="ADAL" clId="{E743E4AA-11AD-4765-83A7-99ECEACBDB7B}" dt="2025-11-14T11:06:55.130" v="306" actId="20577"/>
          <ac:spMkLst>
            <pc:docMk/>
            <pc:sldMk cId="2929654351" sldId="276"/>
            <ac:spMk id="2" creationId="{5A547C03-9FBE-A9A7-B2A8-E37999D6C800}"/>
          </ac:spMkLst>
        </pc:spChg>
        <pc:spChg chg="add del mod">
          <ac:chgData name="Arlette Simon" userId="f8e6e685-e2ee-4044-a307-57648a3e1d7f" providerId="ADAL" clId="{E743E4AA-11AD-4765-83A7-99ECEACBDB7B}" dt="2025-11-14T11:06:52.426" v="305" actId="6264"/>
          <ac:spMkLst>
            <pc:docMk/>
            <pc:sldMk cId="2929654351" sldId="276"/>
            <ac:spMk id="4" creationId="{FA0BDB21-053D-FEF6-E89B-9A99C908E893}"/>
          </ac:spMkLst>
        </pc:spChg>
        <pc:spChg chg="add del mod">
          <ac:chgData name="Arlette Simon" userId="f8e6e685-e2ee-4044-a307-57648a3e1d7f" providerId="ADAL" clId="{E743E4AA-11AD-4765-83A7-99ECEACBDB7B}" dt="2025-11-14T11:06:52.426" v="305" actId="6264"/>
          <ac:spMkLst>
            <pc:docMk/>
            <pc:sldMk cId="2929654351" sldId="276"/>
            <ac:spMk id="5" creationId="{C9DDEDD0-19ED-40CA-741E-A62ED1270F48}"/>
          </ac:spMkLst>
        </pc:spChg>
        <pc:spChg chg="add del mod">
          <ac:chgData name="Arlette Simon" userId="f8e6e685-e2ee-4044-a307-57648a3e1d7f" providerId="ADAL" clId="{E743E4AA-11AD-4765-83A7-99ECEACBDB7B}" dt="2025-11-14T11:06:52.426" v="305" actId="6264"/>
          <ac:spMkLst>
            <pc:docMk/>
            <pc:sldMk cId="2929654351" sldId="276"/>
            <ac:spMk id="6" creationId="{91A74E36-E884-7C24-868D-0B80C17FDAB6}"/>
          </ac:spMkLst>
        </pc:spChg>
        <pc:spChg chg="mod topLvl">
          <ac:chgData name="Arlette Simon" userId="f8e6e685-e2ee-4044-a307-57648a3e1d7f" providerId="ADAL" clId="{E743E4AA-11AD-4765-83A7-99ECEACBDB7B}" dt="2025-11-14T11:09:37.160" v="363" actId="1076"/>
          <ac:spMkLst>
            <pc:docMk/>
            <pc:sldMk cId="2929654351" sldId="276"/>
            <ac:spMk id="11" creationId="{6E0D28E5-6CA1-273A-7C96-92A27C633C46}"/>
          </ac:spMkLst>
        </pc:spChg>
        <pc:spChg chg="mod topLvl">
          <ac:chgData name="Arlette Simon" userId="f8e6e685-e2ee-4044-a307-57648a3e1d7f" providerId="ADAL" clId="{E743E4AA-11AD-4765-83A7-99ECEACBDB7B}" dt="2025-11-14T11:08:28.167" v="314" actId="165"/>
          <ac:spMkLst>
            <pc:docMk/>
            <pc:sldMk cId="2929654351" sldId="276"/>
            <ac:spMk id="12" creationId="{BF7C8CCF-BF40-DC17-5292-9370710DFF96}"/>
          </ac:spMkLst>
        </pc:spChg>
        <pc:spChg chg="mod topLvl">
          <ac:chgData name="Arlette Simon" userId="f8e6e685-e2ee-4044-a307-57648a3e1d7f" providerId="ADAL" clId="{E743E4AA-11AD-4765-83A7-99ECEACBDB7B}" dt="2025-11-14T11:08:28.167" v="314" actId="165"/>
          <ac:spMkLst>
            <pc:docMk/>
            <pc:sldMk cId="2929654351" sldId="276"/>
            <ac:spMk id="13" creationId="{AF37F9DB-DE7D-3DBA-7118-BA8FF3C8FEAB}"/>
          </ac:spMkLst>
        </pc:spChg>
        <pc:spChg chg="mod topLvl">
          <ac:chgData name="Arlette Simon" userId="f8e6e685-e2ee-4044-a307-57648a3e1d7f" providerId="ADAL" clId="{E743E4AA-11AD-4765-83A7-99ECEACBDB7B}" dt="2025-11-14T11:08:28.167" v="314" actId="165"/>
          <ac:spMkLst>
            <pc:docMk/>
            <pc:sldMk cId="2929654351" sldId="276"/>
            <ac:spMk id="14" creationId="{9E13B4DB-C7E1-CCC2-C1CC-F6AA324B9194}"/>
          </ac:spMkLst>
        </pc:spChg>
        <pc:spChg chg="mod topLvl">
          <ac:chgData name="Arlette Simon" userId="f8e6e685-e2ee-4044-a307-57648a3e1d7f" providerId="ADAL" clId="{E743E4AA-11AD-4765-83A7-99ECEACBDB7B}" dt="2025-11-14T11:08:28.167" v="314" actId="165"/>
          <ac:spMkLst>
            <pc:docMk/>
            <pc:sldMk cId="2929654351" sldId="276"/>
            <ac:spMk id="15" creationId="{21F80726-C152-3300-2461-342DFD30CF4F}"/>
          </ac:spMkLst>
        </pc:spChg>
        <pc:spChg chg="mod topLvl">
          <ac:chgData name="Arlette Simon" userId="f8e6e685-e2ee-4044-a307-57648a3e1d7f" providerId="ADAL" clId="{E743E4AA-11AD-4765-83A7-99ECEACBDB7B}" dt="2025-11-14T11:09:20.539" v="359" actId="3064"/>
          <ac:spMkLst>
            <pc:docMk/>
            <pc:sldMk cId="2929654351" sldId="276"/>
            <ac:spMk id="17" creationId="{5776486F-4016-5BD7-07CD-BD18CB792DA0}"/>
          </ac:spMkLst>
        </pc:spChg>
        <pc:spChg chg="mod topLvl">
          <ac:chgData name="Arlette Simon" userId="f8e6e685-e2ee-4044-a307-57648a3e1d7f" providerId="ADAL" clId="{E743E4AA-11AD-4765-83A7-99ECEACBDB7B}" dt="2025-11-14T11:08:28.167" v="314" actId="165"/>
          <ac:spMkLst>
            <pc:docMk/>
            <pc:sldMk cId="2929654351" sldId="276"/>
            <ac:spMk id="18" creationId="{67ECE49E-04B1-0739-9091-B8DBB48E7143}"/>
          </ac:spMkLst>
        </pc:spChg>
        <pc:spChg chg="mod topLvl">
          <ac:chgData name="Arlette Simon" userId="f8e6e685-e2ee-4044-a307-57648a3e1d7f" providerId="ADAL" clId="{E743E4AA-11AD-4765-83A7-99ECEACBDB7B}" dt="2025-11-14T11:08:28.167" v="314" actId="165"/>
          <ac:spMkLst>
            <pc:docMk/>
            <pc:sldMk cId="2929654351" sldId="276"/>
            <ac:spMk id="19" creationId="{4216FA7E-578D-1D87-0AD5-E5241BE394E6}"/>
          </ac:spMkLst>
        </pc:spChg>
        <pc:spChg chg="mod topLvl">
          <ac:chgData name="Arlette Simon" userId="f8e6e685-e2ee-4044-a307-57648a3e1d7f" providerId="ADAL" clId="{E743E4AA-11AD-4765-83A7-99ECEACBDB7B}" dt="2025-11-14T11:08:28.167" v="314" actId="165"/>
          <ac:spMkLst>
            <pc:docMk/>
            <pc:sldMk cId="2929654351" sldId="276"/>
            <ac:spMk id="20" creationId="{F94026BE-0A34-6227-21F6-856E5A03309F}"/>
          </ac:spMkLst>
        </pc:spChg>
        <pc:spChg chg="mod topLvl">
          <ac:chgData name="Arlette Simon" userId="f8e6e685-e2ee-4044-a307-57648a3e1d7f" providerId="ADAL" clId="{E743E4AA-11AD-4765-83A7-99ECEACBDB7B}" dt="2025-11-14T11:08:28.167" v="314" actId="165"/>
          <ac:spMkLst>
            <pc:docMk/>
            <pc:sldMk cId="2929654351" sldId="276"/>
            <ac:spMk id="21" creationId="{CC9C5696-969F-E711-2478-5BE2939B56B4}"/>
          </ac:spMkLst>
        </pc:spChg>
        <pc:grpChg chg="mod">
          <ac:chgData name="Arlette Simon" userId="f8e6e685-e2ee-4044-a307-57648a3e1d7f" providerId="ADAL" clId="{E743E4AA-11AD-4765-83A7-99ECEACBDB7B}" dt="2025-11-14T11:08:22.538" v="312" actId="18245"/>
          <ac:grpSpMkLst>
            <pc:docMk/>
            <pc:sldMk cId="2929654351" sldId="276"/>
            <ac:grpSpMk id="7" creationId="{C689DF80-B991-8FF1-D734-3C1F71FB38A3}"/>
          </ac:grpSpMkLst>
        </pc:grpChg>
        <pc:grpChg chg="mod">
          <ac:chgData name="Arlette Simon" userId="f8e6e685-e2ee-4044-a307-57648a3e1d7f" providerId="ADAL" clId="{E743E4AA-11AD-4765-83A7-99ECEACBDB7B}" dt="2025-11-14T11:08:24.460" v="313" actId="18245"/>
          <ac:grpSpMkLst>
            <pc:docMk/>
            <pc:sldMk cId="2929654351" sldId="276"/>
            <ac:grpSpMk id="16" creationId="{488B3DDB-FBD3-0627-BDAD-00F38FBF10D4}"/>
          </ac:grpSpMkLst>
        </pc:grpChg>
        <pc:graphicFrameChg chg="del mod ord">
          <ac:chgData name="Arlette Simon" userId="f8e6e685-e2ee-4044-a307-57648a3e1d7f" providerId="ADAL" clId="{E743E4AA-11AD-4765-83A7-99ECEACBDB7B}" dt="2025-11-14T11:08:22.538" v="312" actId="18245"/>
          <ac:graphicFrameMkLst>
            <pc:docMk/>
            <pc:sldMk cId="2929654351" sldId="276"/>
            <ac:graphicFrameMk id="9" creationId="{0B2F0098-A0C1-5976-C33F-EADD01D18565}"/>
          </ac:graphicFrameMkLst>
        </pc:graphicFrameChg>
        <pc:graphicFrameChg chg="del mod ord">
          <ac:chgData name="Arlette Simon" userId="f8e6e685-e2ee-4044-a307-57648a3e1d7f" providerId="ADAL" clId="{E743E4AA-11AD-4765-83A7-99ECEACBDB7B}" dt="2025-11-14T11:08:24.460" v="313" actId="18245"/>
          <ac:graphicFrameMkLst>
            <pc:docMk/>
            <pc:sldMk cId="2929654351" sldId="276"/>
            <ac:graphicFrameMk id="10" creationId="{0201AC0A-7C89-3325-1867-6D64132F0332}"/>
          </ac:graphicFrameMkLst>
        </pc:graphicFrameChg>
        <pc:picChg chg="add mod">
          <ac:chgData name="Arlette Simon" userId="f8e6e685-e2ee-4044-a307-57648a3e1d7f" providerId="ADAL" clId="{E743E4AA-11AD-4765-83A7-99ECEACBDB7B}" dt="2025-11-14T11:09:50.131" v="366" actId="207"/>
          <ac:picMkLst>
            <pc:docMk/>
            <pc:sldMk cId="2929654351" sldId="276"/>
            <ac:picMk id="23" creationId="{314E28D1-5BC9-ED35-A793-DE0864EBE26E}"/>
          </ac:picMkLst>
        </pc:picChg>
        <pc:picChg chg="add mod">
          <ac:chgData name="Arlette Simon" userId="f8e6e685-e2ee-4044-a307-57648a3e1d7f" providerId="ADAL" clId="{E743E4AA-11AD-4765-83A7-99ECEACBDB7B}" dt="2025-11-14T11:09:46.428" v="365" actId="207"/>
          <ac:picMkLst>
            <pc:docMk/>
            <pc:sldMk cId="2929654351" sldId="276"/>
            <ac:picMk id="25" creationId="{2812EF03-6CB3-E4D2-DFF4-BFB17F8584AE}"/>
          </ac:picMkLst>
        </pc:picChg>
      </pc:sldChg>
      <pc:sldChg chg="addSp delSp modSp mod">
        <pc:chgData name="Arlette Simon" userId="f8e6e685-e2ee-4044-a307-57648a3e1d7f" providerId="ADAL" clId="{E743E4AA-11AD-4765-83A7-99ECEACBDB7B}" dt="2025-11-14T11:12:15.811" v="406" actId="478"/>
        <pc:sldMkLst>
          <pc:docMk/>
          <pc:sldMk cId="3952477508" sldId="277"/>
        </pc:sldMkLst>
        <pc:spChg chg="add mod">
          <ac:chgData name="Arlette Simon" userId="f8e6e685-e2ee-4044-a307-57648a3e1d7f" providerId="ADAL" clId="{E743E4AA-11AD-4765-83A7-99ECEACBDB7B}" dt="2025-11-14T11:11:35.498" v="396"/>
          <ac:spMkLst>
            <pc:docMk/>
            <pc:sldMk cId="3952477508" sldId="277"/>
            <ac:spMk id="3" creationId="{B032CED6-C9CD-9B4E-1748-DAC183E0CF6A}"/>
          </ac:spMkLst>
        </pc:spChg>
        <pc:spChg chg="add mod">
          <ac:chgData name="Arlette Simon" userId="f8e6e685-e2ee-4044-a307-57648a3e1d7f" providerId="ADAL" clId="{E743E4AA-11AD-4765-83A7-99ECEACBDB7B}" dt="2025-11-14T11:11:35.498" v="396"/>
          <ac:spMkLst>
            <pc:docMk/>
            <pc:sldMk cId="3952477508" sldId="277"/>
            <ac:spMk id="5" creationId="{05EADB83-557C-95B6-33B9-B698532F48B0}"/>
          </ac:spMkLst>
        </pc:spChg>
        <pc:spChg chg="add mod">
          <ac:chgData name="Arlette Simon" userId="f8e6e685-e2ee-4044-a307-57648a3e1d7f" providerId="ADAL" clId="{E743E4AA-11AD-4765-83A7-99ECEACBDB7B}" dt="2025-11-14T11:11:41.638" v="398"/>
          <ac:spMkLst>
            <pc:docMk/>
            <pc:sldMk cId="3952477508" sldId="277"/>
            <ac:spMk id="6" creationId="{719CF6D6-0EE0-ADA5-06A5-B357131DD21C}"/>
          </ac:spMkLst>
        </pc:spChg>
        <pc:spChg chg="add mod">
          <ac:chgData name="Arlette Simon" userId="f8e6e685-e2ee-4044-a307-57648a3e1d7f" providerId="ADAL" clId="{E743E4AA-11AD-4765-83A7-99ECEACBDB7B}" dt="2025-11-14T11:11:35.498" v="396"/>
          <ac:spMkLst>
            <pc:docMk/>
            <pc:sldMk cId="3952477508" sldId="277"/>
            <ac:spMk id="7" creationId="{6B61190B-446D-56EC-3C2F-E3878B4CDD68}"/>
          </ac:spMkLst>
        </pc:spChg>
        <pc:spChg chg="add mod">
          <ac:chgData name="Arlette Simon" userId="f8e6e685-e2ee-4044-a307-57648a3e1d7f" providerId="ADAL" clId="{E743E4AA-11AD-4765-83A7-99ECEACBDB7B}" dt="2025-11-14T11:11:48.344" v="400"/>
          <ac:spMkLst>
            <pc:docMk/>
            <pc:sldMk cId="3952477508" sldId="277"/>
            <ac:spMk id="11" creationId="{9151D3BB-55C1-BAB0-F2B4-DE7CBD325A77}"/>
          </ac:spMkLst>
        </pc:spChg>
        <pc:spChg chg="add mod">
          <ac:chgData name="Arlette Simon" userId="f8e6e685-e2ee-4044-a307-57648a3e1d7f" providerId="ADAL" clId="{E743E4AA-11AD-4765-83A7-99ECEACBDB7B}" dt="2025-11-14T11:11:35.498" v="396"/>
          <ac:spMkLst>
            <pc:docMk/>
            <pc:sldMk cId="3952477508" sldId="277"/>
            <ac:spMk id="12" creationId="{55223430-2BDB-6322-6152-A3BE94711D30}"/>
          </ac:spMkLst>
        </pc:spChg>
        <pc:spChg chg="add mod">
          <ac:chgData name="Arlette Simon" userId="f8e6e685-e2ee-4044-a307-57648a3e1d7f" providerId="ADAL" clId="{E743E4AA-11AD-4765-83A7-99ECEACBDB7B}" dt="2025-11-14T11:11:35.498" v="396"/>
          <ac:spMkLst>
            <pc:docMk/>
            <pc:sldMk cId="3952477508" sldId="277"/>
            <ac:spMk id="13" creationId="{83F3825C-E965-0C3A-254D-C534FC8192F4}"/>
          </ac:spMkLst>
        </pc:spChg>
        <pc:spChg chg="add mod">
          <ac:chgData name="Arlette Simon" userId="f8e6e685-e2ee-4044-a307-57648a3e1d7f" providerId="ADAL" clId="{E743E4AA-11AD-4765-83A7-99ECEACBDB7B}" dt="2025-11-14T11:11:55.368" v="402"/>
          <ac:spMkLst>
            <pc:docMk/>
            <pc:sldMk cId="3952477508" sldId="277"/>
            <ac:spMk id="14" creationId="{09E50EB5-C98E-2772-9855-8ECC32D80B5E}"/>
          </ac:spMkLst>
        </pc:spChg>
        <pc:spChg chg="add mod">
          <ac:chgData name="Arlette Simon" userId="f8e6e685-e2ee-4044-a307-57648a3e1d7f" providerId="ADAL" clId="{E743E4AA-11AD-4765-83A7-99ECEACBDB7B}" dt="2025-11-14T11:11:35.498" v="396"/>
          <ac:spMkLst>
            <pc:docMk/>
            <pc:sldMk cId="3952477508" sldId="277"/>
            <ac:spMk id="15" creationId="{2D15E182-CDF0-66D5-D839-F8D367131C63}"/>
          </ac:spMkLst>
        </pc:spChg>
        <pc:spChg chg="add mod">
          <ac:chgData name="Arlette Simon" userId="f8e6e685-e2ee-4044-a307-57648a3e1d7f" providerId="ADAL" clId="{E743E4AA-11AD-4765-83A7-99ECEACBDB7B}" dt="2025-11-14T11:12:02.825" v="404"/>
          <ac:spMkLst>
            <pc:docMk/>
            <pc:sldMk cId="3952477508" sldId="277"/>
            <ac:spMk id="16" creationId="{74C0E6C3-C3AA-69C7-E606-AE2578C19F03}"/>
          </ac:spMkLst>
        </pc:spChg>
        <pc:spChg chg="add del mod">
          <ac:chgData name="Arlette Simon" userId="f8e6e685-e2ee-4044-a307-57648a3e1d7f" providerId="ADAL" clId="{E743E4AA-11AD-4765-83A7-99ECEACBDB7B}" dt="2025-11-14T11:12:15.811" v="406" actId="478"/>
          <ac:spMkLst>
            <pc:docMk/>
            <pc:sldMk cId="3952477508" sldId="277"/>
            <ac:spMk id="20" creationId="{371FF744-8CD5-1C1B-AE65-7CD1D5AD027D}"/>
          </ac:spMkLst>
        </pc:spChg>
        <pc:spChg chg="add del mod">
          <ac:chgData name="Arlette Simon" userId="f8e6e685-e2ee-4044-a307-57648a3e1d7f" providerId="ADAL" clId="{E743E4AA-11AD-4765-83A7-99ECEACBDB7B}" dt="2025-11-14T11:12:15.811" v="406" actId="478"/>
          <ac:spMkLst>
            <pc:docMk/>
            <pc:sldMk cId="3952477508" sldId="277"/>
            <ac:spMk id="22" creationId="{D8754906-57F7-9B8C-14C7-9B666716DEE5}"/>
          </ac:spMkLst>
        </pc:spChg>
        <pc:graphicFrameChg chg="del mod">
          <ac:chgData name="Arlette Simon" userId="f8e6e685-e2ee-4044-a307-57648a3e1d7f" providerId="ADAL" clId="{E743E4AA-11AD-4765-83A7-99ECEACBDB7B}" dt="2025-11-14T11:12:11.538" v="405" actId="478"/>
          <ac:graphicFrameMkLst>
            <pc:docMk/>
            <pc:sldMk cId="3952477508" sldId="277"/>
            <ac:graphicFrameMk id="9" creationId="{14F47964-8074-F8FD-C61A-A518A03951A5}"/>
          </ac:graphicFrameMkLst>
        </pc:graphicFrameChg>
        <pc:graphicFrameChg chg="del mod">
          <ac:chgData name="Arlette Simon" userId="f8e6e685-e2ee-4044-a307-57648a3e1d7f" providerId="ADAL" clId="{E743E4AA-11AD-4765-83A7-99ECEACBDB7B}" dt="2025-11-14T11:12:11.538" v="405" actId="478"/>
          <ac:graphicFrameMkLst>
            <pc:docMk/>
            <pc:sldMk cId="3952477508" sldId="277"/>
            <ac:graphicFrameMk id="10" creationId="{649AB2EE-48C6-FD36-155A-1AE1EAA36FB4}"/>
          </ac:graphicFrameMkLst>
        </pc:graphicFrameChg>
      </pc:sldChg>
      <pc:sldChg chg="addSp delSp modSp mod">
        <pc:chgData name="Arlette Simon" userId="f8e6e685-e2ee-4044-a307-57648a3e1d7f" providerId="ADAL" clId="{E743E4AA-11AD-4765-83A7-99ECEACBDB7B}" dt="2025-11-14T11:23:19.363" v="420" actId="478"/>
        <pc:sldMkLst>
          <pc:docMk/>
          <pc:sldMk cId="2225445870" sldId="278"/>
        </pc:sldMkLst>
        <pc:spChg chg="add mod">
          <ac:chgData name="Arlette Simon" userId="f8e6e685-e2ee-4044-a307-57648a3e1d7f" providerId="ADAL" clId="{E743E4AA-11AD-4765-83A7-99ECEACBDB7B}" dt="2025-11-14T11:22:39.942" v="408"/>
          <ac:spMkLst>
            <pc:docMk/>
            <pc:sldMk cId="2225445870" sldId="278"/>
            <ac:spMk id="4" creationId="{410831E1-6526-3568-EE58-E15D462AF347}"/>
          </ac:spMkLst>
        </pc:spChg>
        <pc:spChg chg="add mod">
          <ac:chgData name="Arlette Simon" userId="f8e6e685-e2ee-4044-a307-57648a3e1d7f" providerId="ADAL" clId="{E743E4AA-11AD-4765-83A7-99ECEACBDB7B}" dt="2025-11-14T11:22:39.942" v="408"/>
          <ac:spMkLst>
            <pc:docMk/>
            <pc:sldMk cId="2225445870" sldId="278"/>
            <ac:spMk id="5" creationId="{23505ACB-DE50-0CBD-0F81-F7A3EAC09A86}"/>
          </ac:spMkLst>
        </pc:spChg>
        <pc:spChg chg="add mod">
          <ac:chgData name="Arlette Simon" userId="f8e6e685-e2ee-4044-a307-57648a3e1d7f" providerId="ADAL" clId="{E743E4AA-11AD-4765-83A7-99ECEACBDB7B}" dt="2025-11-14T11:22:47.046" v="410"/>
          <ac:spMkLst>
            <pc:docMk/>
            <pc:sldMk cId="2225445870" sldId="278"/>
            <ac:spMk id="6" creationId="{C159332C-C160-591B-99D3-8B2DC7AE7BF3}"/>
          </ac:spMkLst>
        </pc:spChg>
        <pc:spChg chg="add mod">
          <ac:chgData name="Arlette Simon" userId="f8e6e685-e2ee-4044-a307-57648a3e1d7f" providerId="ADAL" clId="{E743E4AA-11AD-4765-83A7-99ECEACBDB7B}" dt="2025-11-14T11:22:39.942" v="408"/>
          <ac:spMkLst>
            <pc:docMk/>
            <pc:sldMk cId="2225445870" sldId="278"/>
            <ac:spMk id="7" creationId="{50CE7ABC-3259-4DB9-C2EE-8A0F6F66A23C}"/>
          </ac:spMkLst>
        </pc:spChg>
        <pc:spChg chg="add mod">
          <ac:chgData name="Arlette Simon" userId="f8e6e685-e2ee-4044-a307-57648a3e1d7f" providerId="ADAL" clId="{E743E4AA-11AD-4765-83A7-99ECEACBDB7B}" dt="2025-11-14T11:22:53.111" v="412"/>
          <ac:spMkLst>
            <pc:docMk/>
            <pc:sldMk cId="2225445870" sldId="278"/>
            <ac:spMk id="11" creationId="{0B0DD516-70D5-7E64-941F-4369160A9047}"/>
          </ac:spMkLst>
        </pc:spChg>
        <pc:spChg chg="add mod">
          <ac:chgData name="Arlette Simon" userId="f8e6e685-e2ee-4044-a307-57648a3e1d7f" providerId="ADAL" clId="{E743E4AA-11AD-4765-83A7-99ECEACBDB7B}" dt="2025-11-14T11:22:39.942" v="408"/>
          <ac:spMkLst>
            <pc:docMk/>
            <pc:sldMk cId="2225445870" sldId="278"/>
            <ac:spMk id="12" creationId="{EF1ABC72-5A87-FC9C-F8D5-739CFA2EA7DF}"/>
          </ac:spMkLst>
        </pc:spChg>
        <pc:spChg chg="add mod">
          <ac:chgData name="Arlette Simon" userId="f8e6e685-e2ee-4044-a307-57648a3e1d7f" providerId="ADAL" clId="{E743E4AA-11AD-4765-83A7-99ECEACBDB7B}" dt="2025-11-14T11:22:39.942" v="408"/>
          <ac:spMkLst>
            <pc:docMk/>
            <pc:sldMk cId="2225445870" sldId="278"/>
            <ac:spMk id="13" creationId="{6818EBA6-9F68-FDC4-E172-0D0F47F0C944}"/>
          </ac:spMkLst>
        </pc:spChg>
        <pc:spChg chg="add mod">
          <ac:chgData name="Arlette Simon" userId="f8e6e685-e2ee-4044-a307-57648a3e1d7f" providerId="ADAL" clId="{E743E4AA-11AD-4765-83A7-99ECEACBDB7B}" dt="2025-11-14T11:23:00.050" v="414"/>
          <ac:spMkLst>
            <pc:docMk/>
            <pc:sldMk cId="2225445870" sldId="278"/>
            <ac:spMk id="14" creationId="{E26AD2BC-865F-3008-8F29-1A8EB474539D}"/>
          </ac:spMkLst>
        </pc:spChg>
        <pc:spChg chg="add mod">
          <ac:chgData name="Arlette Simon" userId="f8e6e685-e2ee-4044-a307-57648a3e1d7f" providerId="ADAL" clId="{E743E4AA-11AD-4765-83A7-99ECEACBDB7B}" dt="2025-11-14T11:22:39.942" v="408"/>
          <ac:spMkLst>
            <pc:docMk/>
            <pc:sldMk cId="2225445870" sldId="278"/>
            <ac:spMk id="15" creationId="{AC9EA296-274C-331A-F421-96E96B30EAB3}"/>
          </ac:spMkLst>
        </pc:spChg>
        <pc:spChg chg="add mod">
          <ac:chgData name="Arlette Simon" userId="f8e6e685-e2ee-4044-a307-57648a3e1d7f" providerId="ADAL" clId="{E743E4AA-11AD-4765-83A7-99ECEACBDB7B}" dt="2025-11-14T11:23:06.998" v="416"/>
          <ac:spMkLst>
            <pc:docMk/>
            <pc:sldMk cId="2225445870" sldId="278"/>
            <ac:spMk id="16" creationId="{ED94A925-EA09-6446-1020-7B6161596EBD}"/>
          </ac:spMkLst>
        </pc:spChg>
        <pc:spChg chg="add del mod">
          <ac:chgData name="Arlette Simon" userId="f8e6e685-e2ee-4044-a307-57648a3e1d7f" providerId="ADAL" clId="{E743E4AA-11AD-4765-83A7-99ECEACBDB7B}" dt="2025-11-14T11:23:19.363" v="420" actId="478"/>
          <ac:spMkLst>
            <pc:docMk/>
            <pc:sldMk cId="2225445870" sldId="278"/>
            <ac:spMk id="20" creationId="{8DD4CE28-4941-478A-267A-A95E54E9CBA2}"/>
          </ac:spMkLst>
        </pc:spChg>
        <pc:spChg chg="add del mod">
          <ac:chgData name="Arlette Simon" userId="f8e6e685-e2ee-4044-a307-57648a3e1d7f" providerId="ADAL" clId="{E743E4AA-11AD-4765-83A7-99ECEACBDB7B}" dt="2025-11-14T11:23:19.363" v="420" actId="478"/>
          <ac:spMkLst>
            <pc:docMk/>
            <pc:sldMk cId="2225445870" sldId="278"/>
            <ac:spMk id="22" creationId="{B6CB87E0-69E5-9E62-B84A-87845FE3C8A7}"/>
          </ac:spMkLst>
        </pc:spChg>
        <pc:graphicFrameChg chg="del mod">
          <ac:chgData name="Arlette Simon" userId="f8e6e685-e2ee-4044-a307-57648a3e1d7f" providerId="ADAL" clId="{E743E4AA-11AD-4765-83A7-99ECEACBDB7B}" dt="2025-11-14T11:23:09.808" v="417" actId="478"/>
          <ac:graphicFrameMkLst>
            <pc:docMk/>
            <pc:sldMk cId="2225445870" sldId="278"/>
            <ac:graphicFrameMk id="9" creationId="{D1DD31AF-573A-1FF3-B71C-2BC87F982A98}"/>
          </ac:graphicFrameMkLst>
        </pc:graphicFrameChg>
        <pc:graphicFrameChg chg="del mod">
          <ac:chgData name="Arlette Simon" userId="f8e6e685-e2ee-4044-a307-57648a3e1d7f" providerId="ADAL" clId="{E743E4AA-11AD-4765-83A7-99ECEACBDB7B}" dt="2025-11-14T11:23:16.153" v="419" actId="478"/>
          <ac:graphicFrameMkLst>
            <pc:docMk/>
            <pc:sldMk cId="2225445870" sldId="278"/>
            <ac:graphicFrameMk id="10" creationId="{23C7DF11-46FA-A8EA-63EA-3156F8A53E4A}"/>
          </ac:graphicFrameMkLst>
        </pc:graphicFrameChg>
      </pc:sldChg>
      <pc:sldChg chg="modSp mod">
        <pc:chgData name="Arlette Simon" userId="f8e6e685-e2ee-4044-a307-57648a3e1d7f" providerId="ADAL" clId="{E743E4AA-11AD-4765-83A7-99ECEACBDB7B}" dt="2025-11-14T10:49:03.798" v="287" actId="20577"/>
        <pc:sldMkLst>
          <pc:docMk/>
          <pc:sldMk cId="2132864526" sldId="279"/>
        </pc:sldMkLst>
        <pc:spChg chg="mod">
          <ac:chgData name="Arlette Simon" userId="f8e6e685-e2ee-4044-a307-57648a3e1d7f" providerId="ADAL" clId="{E743E4AA-11AD-4765-83A7-99ECEACBDB7B}" dt="2025-11-14T10:49:03.798" v="287" actId="20577"/>
          <ac:spMkLst>
            <pc:docMk/>
            <pc:sldMk cId="2132864526" sldId="279"/>
            <ac:spMk id="3" creationId="{5E34CEE0-4559-DF18-22EB-B6BF3D0F455E}"/>
          </ac:spMkLst>
        </pc:spChg>
      </pc:sldChg>
      <pc:sldChg chg="addSp delSp modSp mod chgLayout">
        <pc:chgData name="Arlette Simon" userId="f8e6e685-e2ee-4044-a307-57648a3e1d7f" providerId="ADAL" clId="{E743E4AA-11AD-4765-83A7-99ECEACBDB7B}" dt="2025-11-14T10:48:45.288" v="284" actId="20577"/>
        <pc:sldMkLst>
          <pc:docMk/>
          <pc:sldMk cId="1843533545" sldId="280"/>
        </pc:sldMkLst>
        <pc:spChg chg="add del mod">
          <ac:chgData name="Arlette Simon" userId="f8e6e685-e2ee-4044-a307-57648a3e1d7f" providerId="ADAL" clId="{E743E4AA-11AD-4765-83A7-99ECEACBDB7B}" dt="2025-11-14T10:48:22.500" v="281" actId="6264"/>
          <ac:spMkLst>
            <pc:docMk/>
            <pc:sldMk cId="1843533545" sldId="280"/>
            <ac:spMk id="2" creationId="{DD92ED76-192D-DA19-6C87-CDF71FF59FBD}"/>
          </ac:spMkLst>
        </pc:spChg>
        <pc:spChg chg="mod ord">
          <ac:chgData name="Arlette Simon" userId="f8e6e685-e2ee-4044-a307-57648a3e1d7f" providerId="ADAL" clId="{E743E4AA-11AD-4765-83A7-99ECEACBDB7B}" dt="2025-11-14T10:48:45.288" v="284" actId="20577"/>
          <ac:spMkLst>
            <pc:docMk/>
            <pc:sldMk cId="1843533545" sldId="280"/>
            <ac:spMk id="3" creationId="{14D5A342-0655-DC70-D240-B7F0C1BA97EC}"/>
          </ac:spMkLst>
        </pc:spChg>
        <pc:spChg chg="add del mod ord">
          <ac:chgData name="Arlette Simon" userId="f8e6e685-e2ee-4044-a307-57648a3e1d7f" providerId="ADAL" clId="{E743E4AA-11AD-4765-83A7-99ECEACBDB7B}" dt="2025-11-14T10:48:22.500" v="281" actId="6264"/>
          <ac:spMkLst>
            <pc:docMk/>
            <pc:sldMk cId="1843533545" sldId="280"/>
            <ac:spMk id="6" creationId="{ABE4A391-FC3E-ADA7-3F7D-80A3E6DC6A0B}"/>
          </ac:spMkLst>
        </pc:spChg>
      </pc:sldChg>
      <pc:sldChg chg="modSp mod">
        <pc:chgData name="Arlette Simon" userId="f8e6e685-e2ee-4044-a307-57648a3e1d7f" providerId="ADAL" clId="{E743E4AA-11AD-4765-83A7-99ECEACBDB7B}" dt="2025-11-14T10:48:49.468" v="285" actId="20577"/>
        <pc:sldMkLst>
          <pc:docMk/>
          <pc:sldMk cId="1325666795" sldId="281"/>
        </pc:sldMkLst>
        <pc:spChg chg="mod">
          <ac:chgData name="Arlette Simon" userId="f8e6e685-e2ee-4044-a307-57648a3e1d7f" providerId="ADAL" clId="{E743E4AA-11AD-4765-83A7-99ECEACBDB7B}" dt="2025-11-14T10:48:49.468" v="285" actId="20577"/>
          <ac:spMkLst>
            <pc:docMk/>
            <pc:sldMk cId="1325666795" sldId="281"/>
            <ac:spMk id="3" creationId="{F6E9FB1D-EF57-4495-D795-E9BAC7DB0F9B}"/>
          </ac:spMkLst>
        </pc:spChg>
      </pc:sldChg>
      <pc:sldChg chg="modSp mod">
        <pc:chgData name="Arlette Simon" userId="f8e6e685-e2ee-4044-a307-57648a3e1d7f" providerId="ADAL" clId="{E743E4AA-11AD-4765-83A7-99ECEACBDB7B}" dt="2025-11-14T10:48:57.704" v="286" actId="20577"/>
        <pc:sldMkLst>
          <pc:docMk/>
          <pc:sldMk cId="3839215987" sldId="282"/>
        </pc:sldMkLst>
        <pc:spChg chg="mod">
          <ac:chgData name="Arlette Simon" userId="f8e6e685-e2ee-4044-a307-57648a3e1d7f" providerId="ADAL" clId="{E743E4AA-11AD-4765-83A7-99ECEACBDB7B}" dt="2025-11-14T10:48:57.704" v="286" actId="20577"/>
          <ac:spMkLst>
            <pc:docMk/>
            <pc:sldMk cId="3839215987" sldId="282"/>
            <ac:spMk id="3" creationId="{43E28895-6059-5F1E-49E8-F0EC59291F02}"/>
          </ac:spMkLst>
        </pc:spChg>
      </pc:sldChg>
      <pc:sldChg chg="addSp delSp modSp mod chgLayout">
        <pc:chgData name="Arlette Simon" userId="f8e6e685-e2ee-4044-a307-57648a3e1d7f" providerId="ADAL" clId="{E743E4AA-11AD-4765-83A7-99ECEACBDB7B}" dt="2025-11-14T10:44:47.014" v="240" actId="14100"/>
        <pc:sldMkLst>
          <pc:docMk/>
          <pc:sldMk cId="1952375307" sldId="283"/>
        </pc:sldMkLst>
        <pc:spChg chg="mod ord">
          <ac:chgData name="Arlette Simon" userId="f8e6e685-e2ee-4044-a307-57648a3e1d7f" providerId="ADAL" clId="{E743E4AA-11AD-4765-83A7-99ECEACBDB7B}" dt="2025-11-14T10:44:41.092" v="239" actId="6264"/>
          <ac:spMkLst>
            <pc:docMk/>
            <pc:sldMk cId="1952375307" sldId="283"/>
            <ac:spMk id="2" creationId="{2F93F8E7-ECC3-B1AA-F7FE-500C7B6694A9}"/>
          </ac:spMkLst>
        </pc:spChg>
        <pc:spChg chg="add del mod">
          <ac:chgData name="Arlette Simon" userId="f8e6e685-e2ee-4044-a307-57648a3e1d7f" providerId="ADAL" clId="{E743E4AA-11AD-4765-83A7-99ECEACBDB7B}" dt="2025-11-14T10:44:41.092" v="239" actId="6264"/>
          <ac:spMkLst>
            <pc:docMk/>
            <pc:sldMk cId="1952375307" sldId="283"/>
            <ac:spMk id="3" creationId="{8CB8A86D-8CA1-F3B9-0125-AD744A08DBF3}"/>
          </ac:spMkLst>
        </pc:spChg>
        <pc:spChg chg="add del mod">
          <ac:chgData name="Arlette Simon" userId="f8e6e685-e2ee-4044-a307-57648a3e1d7f" providerId="ADAL" clId="{E743E4AA-11AD-4765-83A7-99ECEACBDB7B}" dt="2025-11-14T10:44:41.092" v="239" actId="6264"/>
          <ac:spMkLst>
            <pc:docMk/>
            <pc:sldMk cId="1952375307" sldId="283"/>
            <ac:spMk id="4" creationId="{F225E057-DF51-7184-5BED-7D389B8AC165}"/>
          </ac:spMkLst>
        </pc:spChg>
        <pc:picChg chg="mod ord">
          <ac:chgData name="Arlette Simon" userId="f8e6e685-e2ee-4044-a307-57648a3e1d7f" providerId="ADAL" clId="{E743E4AA-11AD-4765-83A7-99ECEACBDB7B}" dt="2025-11-14T10:44:47.014" v="240" actId="14100"/>
          <ac:picMkLst>
            <pc:docMk/>
            <pc:sldMk cId="1952375307" sldId="283"/>
            <ac:picMk id="5" creationId="{AA805BE0-1D9D-DEFB-2686-12DCBF43B086}"/>
          </ac:picMkLst>
        </pc:picChg>
      </pc:sldChg>
      <pc:sldChg chg="addSp delSp modSp mod chgLayout">
        <pc:chgData name="Arlette Simon" userId="f8e6e685-e2ee-4044-a307-57648a3e1d7f" providerId="ADAL" clId="{E743E4AA-11AD-4765-83A7-99ECEACBDB7B}" dt="2025-11-14T13:55:33.183" v="787" actId="15"/>
        <pc:sldMkLst>
          <pc:docMk/>
          <pc:sldMk cId="1182885909" sldId="287"/>
        </pc:sldMkLst>
        <pc:spChg chg="mod ord">
          <ac:chgData name="Arlette Simon" userId="f8e6e685-e2ee-4044-a307-57648a3e1d7f" providerId="ADAL" clId="{E743E4AA-11AD-4765-83A7-99ECEACBDB7B}" dt="2025-11-14T13:55:14.685" v="784" actId="20577"/>
          <ac:spMkLst>
            <pc:docMk/>
            <pc:sldMk cId="1182885909" sldId="287"/>
            <ac:spMk id="2" creationId="{2E9160E9-3AA1-922F-4C48-4D36FD553719}"/>
          </ac:spMkLst>
        </pc:spChg>
        <pc:spChg chg="mod ord">
          <ac:chgData name="Arlette Simon" userId="f8e6e685-e2ee-4044-a307-57648a3e1d7f" providerId="ADAL" clId="{E743E4AA-11AD-4765-83A7-99ECEACBDB7B}" dt="2025-11-14T13:55:33.183" v="787" actId="15"/>
          <ac:spMkLst>
            <pc:docMk/>
            <pc:sldMk cId="1182885909" sldId="287"/>
            <ac:spMk id="3" creationId="{0C8D0155-DC2F-4FB7-58C8-91A76BF7A9D5}"/>
          </ac:spMkLst>
        </pc:spChg>
        <pc:spChg chg="add del mod">
          <ac:chgData name="Arlette Simon" userId="f8e6e685-e2ee-4044-a307-57648a3e1d7f" providerId="ADAL" clId="{E743E4AA-11AD-4765-83A7-99ECEACBDB7B}" dt="2025-11-14T13:55:11.876" v="783" actId="6264"/>
          <ac:spMkLst>
            <pc:docMk/>
            <pc:sldMk cId="1182885909" sldId="287"/>
            <ac:spMk id="4" creationId="{8076E600-AD71-F5C4-2F47-DF8FEBA03388}"/>
          </ac:spMkLst>
        </pc:spChg>
        <pc:spChg chg="add del mod">
          <ac:chgData name="Arlette Simon" userId="f8e6e685-e2ee-4044-a307-57648a3e1d7f" providerId="ADAL" clId="{E743E4AA-11AD-4765-83A7-99ECEACBDB7B}" dt="2025-11-14T13:55:11.876" v="783" actId="6264"/>
          <ac:spMkLst>
            <pc:docMk/>
            <pc:sldMk cId="1182885909" sldId="287"/>
            <ac:spMk id="5" creationId="{C0ADD066-38D3-8F73-5B62-055AB82A460B}"/>
          </ac:spMkLst>
        </pc:spChg>
      </pc:sldChg>
      <pc:sldChg chg="addSp delSp modSp mod chgLayout">
        <pc:chgData name="Arlette Simon" userId="f8e6e685-e2ee-4044-a307-57648a3e1d7f" providerId="ADAL" clId="{E743E4AA-11AD-4765-83A7-99ECEACBDB7B}" dt="2025-11-14T10:45:10.676" v="243" actId="14100"/>
        <pc:sldMkLst>
          <pc:docMk/>
          <pc:sldMk cId="1896704452" sldId="288"/>
        </pc:sldMkLst>
        <pc:spChg chg="mod ord">
          <ac:chgData name="Arlette Simon" userId="f8e6e685-e2ee-4044-a307-57648a3e1d7f" providerId="ADAL" clId="{E743E4AA-11AD-4765-83A7-99ECEACBDB7B}" dt="2025-11-14T10:44:55.239" v="241" actId="6264"/>
          <ac:spMkLst>
            <pc:docMk/>
            <pc:sldMk cId="1896704452" sldId="288"/>
            <ac:spMk id="2" creationId="{CB94CCDF-B816-24EB-44C9-0AEA97BE8781}"/>
          </ac:spMkLst>
        </pc:spChg>
        <pc:spChg chg="add del mod">
          <ac:chgData name="Arlette Simon" userId="f8e6e685-e2ee-4044-a307-57648a3e1d7f" providerId="ADAL" clId="{E743E4AA-11AD-4765-83A7-99ECEACBDB7B}" dt="2025-11-14T10:44:55.239" v="241" actId="6264"/>
          <ac:spMkLst>
            <pc:docMk/>
            <pc:sldMk cId="1896704452" sldId="288"/>
            <ac:spMk id="3" creationId="{BB76C3B4-B421-F3D2-6155-68216373E845}"/>
          </ac:spMkLst>
        </pc:spChg>
        <pc:spChg chg="add del mod">
          <ac:chgData name="Arlette Simon" userId="f8e6e685-e2ee-4044-a307-57648a3e1d7f" providerId="ADAL" clId="{E743E4AA-11AD-4765-83A7-99ECEACBDB7B}" dt="2025-11-14T10:44:55.239" v="241" actId="6264"/>
          <ac:spMkLst>
            <pc:docMk/>
            <pc:sldMk cId="1896704452" sldId="288"/>
            <ac:spMk id="4" creationId="{D0D45B59-BA07-0929-F445-863D451617AF}"/>
          </ac:spMkLst>
        </pc:spChg>
        <pc:picChg chg="mod ord">
          <ac:chgData name="Arlette Simon" userId="f8e6e685-e2ee-4044-a307-57648a3e1d7f" providerId="ADAL" clId="{E743E4AA-11AD-4765-83A7-99ECEACBDB7B}" dt="2025-11-14T10:45:10.676" v="243" actId="14100"/>
          <ac:picMkLst>
            <pc:docMk/>
            <pc:sldMk cId="1896704452" sldId="288"/>
            <ac:picMk id="5" creationId="{DE49B09F-6620-DE2B-4525-8942B0F7F1CF}"/>
          </ac:picMkLst>
        </pc:picChg>
      </pc:sldChg>
      <pc:sldChg chg="addSp delSp modSp mod chgLayout">
        <pc:chgData name="Arlette Simon" userId="f8e6e685-e2ee-4044-a307-57648a3e1d7f" providerId="ADAL" clId="{E743E4AA-11AD-4765-83A7-99ECEACBDB7B}" dt="2025-11-14T14:44:33.517" v="1012" actId="113"/>
        <pc:sldMkLst>
          <pc:docMk/>
          <pc:sldMk cId="3002531695" sldId="289"/>
        </pc:sldMkLst>
        <pc:spChg chg="mod ord">
          <ac:chgData name="Arlette Simon" userId="f8e6e685-e2ee-4044-a307-57648a3e1d7f" providerId="ADAL" clId="{E743E4AA-11AD-4765-83A7-99ECEACBDB7B}" dt="2025-11-14T10:45:29.755" v="246" actId="6264"/>
          <ac:spMkLst>
            <pc:docMk/>
            <pc:sldMk cId="3002531695" sldId="289"/>
            <ac:spMk id="2" creationId="{CC7F38BD-8893-319A-A542-0033C7F92B07}"/>
          </ac:spMkLst>
        </pc:spChg>
        <pc:spChg chg="mod ord">
          <ac:chgData name="Arlette Simon" userId="f8e6e685-e2ee-4044-a307-57648a3e1d7f" providerId="ADAL" clId="{E743E4AA-11AD-4765-83A7-99ECEACBDB7B}" dt="2025-11-14T14:44:33.517" v="1012" actId="113"/>
          <ac:spMkLst>
            <pc:docMk/>
            <pc:sldMk cId="3002531695" sldId="289"/>
            <ac:spMk id="3" creationId="{FE17BD77-BA1D-F1B2-0E0D-1BD05D5216E4}"/>
          </ac:spMkLst>
        </pc:spChg>
        <pc:spChg chg="add del mod">
          <ac:chgData name="Arlette Simon" userId="f8e6e685-e2ee-4044-a307-57648a3e1d7f" providerId="ADAL" clId="{E743E4AA-11AD-4765-83A7-99ECEACBDB7B}" dt="2025-11-14T10:45:29.755" v="246" actId="6264"/>
          <ac:spMkLst>
            <pc:docMk/>
            <pc:sldMk cId="3002531695" sldId="289"/>
            <ac:spMk id="4" creationId="{4C99B3EC-8214-DFC9-D4CF-8BFC05A66089}"/>
          </ac:spMkLst>
        </pc:spChg>
        <pc:spChg chg="add del mod">
          <ac:chgData name="Arlette Simon" userId="f8e6e685-e2ee-4044-a307-57648a3e1d7f" providerId="ADAL" clId="{E743E4AA-11AD-4765-83A7-99ECEACBDB7B}" dt="2025-11-14T10:45:29.755" v="246" actId="6264"/>
          <ac:spMkLst>
            <pc:docMk/>
            <pc:sldMk cId="3002531695" sldId="289"/>
            <ac:spMk id="5" creationId="{16F8AD20-35F6-9BE8-5DD2-45E9F2DD3EDF}"/>
          </ac:spMkLst>
        </pc:spChg>
      </pc:sldChg>
      <pc:sldChg chg="addSp delSp modSp mod chgLayout">
        <pc:chgData name="Arlette Simon" userId="f8e6e685-e2ee-4044-a307-57648a3e1d7f" providerId="ADAL" clId="{E743E4AA-11AD-4765-83A7-99ECEACBDB7B}" dt="2025-11-14T13:59:59.395" v="834" actId="6264"/>
        <pc:sldMkLst>
          <pc:docMk/>
          <pc:sldMk cId="3049643824" sldId="290"/>
        </pc:sldMkLst>
        <pc:spChg chg="mod ord">
          <ac:chgData name="Arlette Simon" userId="f8e6e685-e2ee-4044-a307-57648a3e1d7f" providerId="ADAL" clId="{E743E4AA-11AD-4765-83A7-99ECEACBDB7B}" dt="2025-11-14T13:59:59.395" v="834" actId="6264"/>
          <ac:spMkLst>
            <pc:docMk/>
            <pc:sldMk cId="3049643824" sldId="290"/>
            <ac:spMk id="2" creationId="{4FED6740-7B33-4574-0627-2EED135200A7}"/>
          </ac:spMkLst>
        </pc:spChg>
        <pc:spChg chg="mod ord">
          <ac:chgData name="Arlette Simon" userId="f8e6e685-e2ee-4044-a307-57648a3e1d7f" providerId="ADAL" clId="{E743E4AA-11AD-4765-83A7-99ECEACBDB7B}" dt="2025-11-14T13:59:59.395" v="834" actId="6264"/>
          <ac:spMkLst>
            <pc:docMk/>
            <pc:sldMk cId="3049643824" sldId="290"/>
            <ac:spMk id="3" creationId="{B308EB48-5F85-A2D9-0546-14D9ABF91A3C}"/>
          </ac:spMkLst>
        </pc:spChg>
        <pc:spChg chg="add del mod">
          <ac:chgData name="Arlette Simon" userId="f8e6e685-e2ee-4044-a307-57648a3e1d7f" providerId="ADAL" clId="{E743E4AA-11AD-4765-83A7-99ECEACBDB7B}" dt="2025-11-14T13:59:59.395" v="834" actId="6264"/>
          <ac:spMkLst>
            <pc:docMk/>
            <pc:sldMk cId="3049643824" sldId="290"/>
            <ac:spMk id="4" creationId="{44F87B96-A7B1-D9D6-2FCF-9EEF115089C2}"/>
          </ac:spMkLst>
        </pc:spChg>
        <pc:spChg chg="add del mod">
          <ac:chgData name="Arlette Simon" userId="f8e6e685-e2ee-4044-a307-57648a3e1d7f" providerId="ADAL" clId="{E743E4AA-11AD-4765-83A7-99ECEACBDB7B}" dt="2025-11-14T13:59:59.395" v="834" actId="6264"/>
          <ac:spMkLst>
            <pc:docMk/>
            <pc:sldMk cId="3049643824" sldId="290"/>
            <ac:spMk id="5" creationId="{A93AA60A-DAF4-26F2-B118-401A48A597B7}"/>
          </ac:spMkLst>
        </pc:spChg>
      </pc:sldChg>
      <pc:sldChg chg="modSp mod">
        <pc:chgData name="Arlette Simon" userId="f8e6e685-e2ee-4044-a307-57648a3e1d7f" providerId="ADAL" clId="{E743E4AA-11AD-4765-83A7-99ECEACBDB7B}" dt="2025-11-14T10:45:21.448" v="245" actId="14100"/>
        <pc:sldMkLst>
          <pc:docMk/>
          <pc:sldMk cId="2386659718" sldId="291"/>
        </pc:sldMkLst>
        <pc:picChg chg="mod">
          <ac:chgData name="Arlette Simon" userId="f8e6e685-e2ee-4044-a307-57648a3e1d7f" providerId="ADAL" clId="{E743E4AA-11AD-4765-83A7-99ECEACBDB7B}" dt="2025-11-14T10:45:21.448" v="245" actId="14100"/>
          <ac:picMkLst>
            <pc:docMk/>
            <pc:sldMk cId="2386659718" sldId="291"/>
            <ac:picMk id="5" creationId="{931B954E-6D2D-9E71-EFA4-301F31DDAA8E}"/>
          </ac:picMkLst>
        </pc:picChg>
      </pc:sldChg>
      <pc:sldChg chg="addSp delSp modSp mod chgLayout">
        <pc:chgData name="Arlette Simon" userId="f8e6e685-e2ee-4044-a307-57648a3e1d7f" providerId="ADAL" clId="{E743E4AA-11AD-4765-83A7-99ECEACBDB7B}" dt="2025-11-14T10:46:54.638" v="262" actId="20577"/>
        <pc:sldMkLst>
          <pc:docMk/>
          <pc:sldMk cId="3611680129" sldId="292"/>
        </pc:sldMkLst>
        <pc:spChg chg="mod ord">
          <ac:chgData name="Arlette Simon" userId="f8e6e685-e2ee-4044-a307-57648a3e1d7f" providerId="ADAL" clId="{E743E4AA-11AD-4765-83A7-99ECEACBDB7B}" dt="2025-11-14T10:46:18.013" v="257" actId="6264"/>
          <ac:spMkLst>
            <pc:docMk/>
            <pc:sldMk cId="3611680129" sldId="292"/>
            <ac:spMk id="2" creationId="{13A51F2E-25B8-7BB5-6262-6E04F51739FE}"/>
          </ac:spMkLst>
        </pc:spChg>
        <pc:spChg chg="add del mod">
          <ac:chgData name="Arlette Simon" userId="f8e6e685-e2ee-4044-a307-57648a3e1d7f" providerId="ADAL" clId="{E743E4AA-11AD-4765-83A7-99ECEACBDB7B}" dt="2025-11-14T10:46:08.372" v="253" actId="6264"/>
          <ac:spMkLst>
            <pc:docMk/>
            <pc:sldMk cId="3611680129" sldId="292"/>
            <ac:spMk id="3" creationId="{2D438EE1-E054-926C-A588-298236ABFF28}"/>
          </ac:spMkLst>
        </pc:spChg>
        <pc:spChg chg="del mod">
          <ac:chgData name="Arlette Simon" userId="f8e6e685-e2ee-4044-a307-57648a3e1d7f" providerId="ADAL" clId="{E743E4AA-11AD-4765-83A7-99ECEACBDB7B}" dt="2025-11-14T10:46:13.691" v="255" actId="478"/>
          <ac:spMkLst>
            <pc:docMk/>
            <pc:sldMk cId="3611680129" sldId="292"/>
            <ac:spMk id="4" creationId="{E4D88D77-64E5-7350-C462-724DE0AA91FE}"/>
          </ac:spMkLst>
        </pc:spChg>
        <pc:spChg chg="add mod ord">
          <ac:chgData name="Arlette Simon" userId="f8e6e685-e2ee-4044-a307-57648a3e1d7f" providerId="ADAL" clId="{E743E4AA-11AD-4765-83A7-99ECEACBDB7B}" dt="2025-11-14T10:46:54.638" v="262" actId="20577"/>
          <ac:spMkLst>
            <pc:docMk/>
            <pc:sldMk cId="3611680129" sldId="292"/>
            <ac:spMk id="5" creationId="{DDFD5F72-DF41-4396-3887-73DEAB12F303}"/>
          </ac:spMkLst>
        </pc:spChg>
        <pc:spChg chg="add del mod">
          <ac:chgData name="Arlette Simon" userId="f8e6e685-e2ee-4044-a307-57648a3e1d7f" providerId="ADAL" clId="{E743E4AA-11AD-4765-83A7-99ECEACBDB7B}" dt="2025-11-14T10:46:18.013" v="257" actId="6264"/>
          <ac:spMkLst>
            <pc:docMk/>
            <pc:sldMk cId="3611680129" sldId="292"/>
            <ac:spMk id="6" creationId="{79DC0C12-A1CE-BB3C-1A87-30ED644516D0}"/>
          </ac:spMkLst>
        </pc:spChg>
        <pc:spChg chg="add del mod">
          <ac:chgData name="Arlette Simon" userId="f8e6e685-e2ee-4044-a307-57648a3e1d7f" providerId="ADAL" clId="{E743E4AA-11AD-4765-83A7-99ECEACBDB7B}" dt="2025-11-14T10:46:18.013" v="257" actId="6264"/>
          <ac:spMkLst>
            <pc:docMk/>
            <pc:sldMk cId="3611680129" sldId="292"/>
            <ac:spMk id="7" creationId="{72D9AC7A-30A8-AC40-1392-78F599BBF174}"/>
          </ac:spMkLst>
        </pc:spChg>
      </pc:sldChg>
      <pc:sldChg chg="modSp mod">
        <pc:chgData name="Arlette Simon" userId="f8e6e685-e2ee-4044-a307-57648a3e1d7f" providerId="ADAL" clId="{E743E4AA-11AD-4765-83A7-99ECEACBDB7B}" dt="2025-11-14T10:46:04.250" v="252" actId="14100"/>
        <pc:sldMkLst>
          <pc:docMk/>
          <pc:sldMk cId="4273012100" sldId="293"/>
        </pc:sldMkLst>
        <pc:picChg chg="mod">
          <ac:chgData name="Arlette Simon" userId="f8e6e685-e2ee-4044-a307-57648a3e1d7f" providerId="ADAL" clId="{E743E4AA-11AD-4765-83A7-99ECEACBDB7B}" dt="2025-11-14T10:46:04.250" v="252" actId="14100"/>
          <ac:picMkLst>
            <pc:docMk/>
            <pc:sldMk cId="4273012100" sldId="293"/>
            <ac:picMk id="4" creationId="{C56D99A1-0A06-78F9-A6D7-A21EB4F44E89}"/>
          </ac:picMkLst>
        </pc:picChg>
      </pc:sldChg>
      <pc:sldChg chg="modSp mod">
        <pc:chgData name="Arlette Simon" userId="f8e6e685-e2ee-4044-a307-57648a3e1d7f" providerId="ADAL" clId="{E743E4AA-11AD-4765-83A7-99ECEACBDB7B}" dt="2025-11-14T10:47:14.841" v="265"/>
        <pc:sldMkLst>
          <pc:docMk/>
          <pc:sldMk cId="373051036" sldId="294"/>
        </pc:sldMkLst>
        <pc:picChg chg="mod">
          <ac:chgData name="Arlette Simon" userId="f8e6e685-e2ee-4044-a307-57648a3e1d7f" providerId="ADAL" clId="{E743E4AA-11AD-4765-83A7-99ECEACBDB7B}" dt="2025-11-14T10:47:14.841" v="265"/>
          <ac:picMkLst>
            <pc:docMk/>
            <pc:sldMk cId="373051036" sldId="294"/>
            <ac:picMk id="5" creationId="{AD43985D-A8E0-67EA-180E-4BF2A6F87041}"/>
          </ac:picMkLst>
        </pc:picChg>
      </pc:sldChg>
      <pc:sldChg chg="modSp mod">
        <pc:chgData name="Arlette Simon" userId="f8e6e685-e2ee-4044-a307-57648a3e1d7f" providerId="ADAL" clId="{E743E4AA-11AD-4765-83A7-99ECEACBDB7B}" dt="2025-11-14T10:47:29.911" v="269" actId="1076"/>
        <pc:sldMkLst>
          <pc:docMk/>
          <pc:sldMk cId="2050907080" sldId="295"/>
        </pc:sldMkLst>
        <pc:picChg chg="mod">
          <ac:chgData name="Arlette Simon" userId="f8e6e685-e2ee-4044-a307-57648a3e1d7f" providerId="ADAL" clId="{E743E4AA-11AD-4765-83A7-99ECEACBDB7B}" dt="2025-11-14T10:47:29.911" v="269" actId="1076"/>
          <ac:picMkLst>
            <pc:docMk/>
            <pc:sldMk cId="2050907080" sldId="295"/>
            <ac:picMk id="4" creationId="{5ABA52DA-E4F5-E021-06D1-111EA8528451}"/>
          </ac:picMkLst>
        </pc:picChg>
      </pc:sldChg>
      <pc:sldChg chg="addSp delSp modSp mod chgLayout">
        <pc:chgData name="Arlette Simon" userId="f8e6e685-e2ee-4044-a307-57648a3e1d7f" providerId="ADAL" clId="{E743E4AA-11AD-4765-83A7-99ECEACBDB7B}" dt="2025-11-14T09:36:56.926" v="231" actId="12"/>
        <pc:sldMkLst>
          <pc:docMk/>
          <pc:sldMk cId="1330495849" sldId="297"/>
        </pc:sldMkLst>
        <pc:spChg chg="mod ord">
          <ac:chgData name="Arlette Simon" userId="f8e6e685-e2ee-4044-a307-57648a3e1d7f" providerId="ADAL" clId="{E743E4AA-11AD-4765-83A7-99ECEACBDB7B}" dt="2025-11-14T09:33:41.756" v="188" actId="6264"/>
          <ac:spMkLst>
            <pc:docMk/>
            <pc:sldMk cId="1330495849" sldId="297"/>
            <ac:spMk id="2" creationId="{7F4B3E31-4285-F815-A053-611ADC2DB72C}"/>
          </ac:spMkLst>
        </pc:spChg>
        <pc:spChg chg="add del mod">
          <ac:chgData name="Arlette Simon" userId="f8e6e685-e2ee-4044-a307-57648a3e1d7f" providerId="ADAL" clId="{E743E4AA-11AD-4765-83A7-99ECEACBDB7B}" dt="2025-11-14T09:33:41.756" v="188" actId="6264"/>
          <ac:spMkLst>
            <pc:docMk/>
            <pc:sldMk cId="1330495849" sldId="297"/>
            <ac:spMk id="3" creationId="{B3C27320-2820-FC24-0A62-664C68B46117}"/>
          </ac:spMkLst>
        </pc:spChg>
        <pc:spChg chg="add del mod">
          <ac:chgData name="Arlette Simon" userId="f8e6e685-e2ee-4044-a307-57648a3e1d7f" providerId="ADAL" clId="{E743E4AA-11AD-4765-83A7-99ECEACBDB7B}" dt="2025-11-14T09:33:41.756" v="188" actId="6264"/>
          <ac:spMkLst>
            <pc:docMk/>
            <pc:sldMk cId="1330495849" sldId="297"/>
            <ac:spMk id="5" creationId="{F8ECE8F8-1849-EE27-05B0-07B3A0CF3E85}"/>
          </ac:spMkLst>
        </pc:spChg>
        <pc:spChg chg="mod topLvl">
          <ac:chgData name="Arlette Simon" userId="f8e6e685-e2ee-4044-a307-57648a3e1d7f" providerId="ADAL" clId="{E743E4AA-11AD-4765-83A7-99ECEACBDB7B}" dt="2025-11-14T09:35:41.853" v="214" actId="11530"/>
          <ac:spMkLst>
            <pc:docMk/>
            <pc:sldMk cId="1330495849" sldId="297"/>
            <ac:spMk id="7" creationId="{2E8D8A09-1D7D-9BA4-EED9-BE35154195FD}"/>
          </ac:spMkLst>
        </pc:spChg>
        <pc:spChg chg="mod topLvl">
          <ac:chgData name="Arlette Simon" userId="f8e6e685-e2ee-4044-a307-57648a3e1d7f" providerId="ADAL" clId="{E743E4AA-11AD-4765-83A7-99ECEACBDB7B}" dt="2025-11-14T09:36:53.198" v="229" actId="12"/>
          <ac:spMkLst>
            <pc:docMk/>
            <pc:sldMk cId="1330495849" sldId="297"/>
            <ac:spMk id="8" creationId="{9E6347D9-A211-15B7-B2C8-C18343349FF9}"/>
          </ac:spMkLst>
        </pc:spChg>
        <pc:spChg chg="mod topLvl">
          <ac:chgData name="Arlette Simon" userId="f8e6e685-e2ee-4044-a307-57648a3e1d7f" providerId="ADAL" clId="{E743E4AA-11AD-4765-83A7-99ECEACBDB7B}" dt="2025-11-14T09:35:55.468" v="215" actId="14100"/>
          <ac:spMkLst>
            <pc:docMk/>
            <pc:sldMk cId="1330495849" sldId="297"/>
            <ac:spMk id="9" creationId="{CABA83EE-8B11-9ECB-CC38-C2C5CC146A8B}"/>
          </ac:spMkLst>
        </pc:spChg>
        <pc:spChg chg="mod topLvl">
          <ac:chgData name="Arlette Simon" userId="f8e6e685-e2ee-4044-a307-57648a3e1d7f" providerId="ADAL" clId="{E743E4AA-11AD-4765-83A7-99ECEACBDB7B}" dt="2025-11-14T09:36:55.556" v="230" actId="12"/>
          <ac:spMkLst>
            <pc:docMk/>
            <pc:sldMk cId="1330495849" sldId="297"/>
            <ac:spMk id="10" creationId="{5C8E03E7-5BC8-FE3E-D57F-058FB6F7C54C}"/>
          </ac:spMkLst>
        </pc:spChg>
        <pc:spChg chg="mod topLvl">
          <ac:chgData name="Arlette Simon" userId="f8e6e685-e2ee-4044-a307-57648a3e1d7f" providerId="ADAL" clId="{E743E4AA-11AD-4765-83A7-99ECEACBDB7B}" dt="2025-11-14T09:36:23.814" v="228" actId="14100"/>
          <ac:spMkLst>
            <pc:docMk/>
            <pc:sldMk cId="1330495849" sldId="297"/>
            <ac:spMk id="11" creationId="{080252E6-435D-D8A4-64E6-9977D09565A0}"/>
          </ac:spMkLst>
        </pc:spChg>
        <pc:spChg chg="mod topLvl">
          <ac:chgData name="Arlette Simon" userId="f8e6e685-e2ee-4044-a307-57648a3e1d7f" providerId="ADAL" clId="{E743E4AA-11AD-4765-83A7-99ECEACBDB7B}" dt="2025-11-14T09:36:56.926" v="231" actId="12"/>
          <ac:spMkLst>
            <pc:docMk/>
            <pc:sldMk cId="1330495849" sldId="297"/>
            <ac:spMk id="12" creationId="{20F6204F-8EB0-2419-647B-848A295F3F23}"/>
          </ac:spMkLst>
        </pc:spChg>
        <pc:grpChg chg="del mod">
          <ac:chgData name="Arlette Simon" userId="f8e6e685-e2ee-4044-a307-57648a3e1d7f" providerId="ADAL" clId="{E743E4AA-11AD-4765-83A7-99ECEACBDB7B}" dt="2025-11-14T09:35:10.062" v="207" actId="165"/>
          <ac:grpSpMkLst>
            <pc:docMk/>
            <pc:sldMk cId="1330495849" sldId="297"/>
            <ac:grpSpMk id="6" creationId="{71E4D8A7-9B3E-ED0A-7EAA-CA8936496B9C}"/>
          </ac:grpSpMkLst>
        </pc:grpChg>
        <pc:graphicFrameChg chg="del mod ord modGraphic">
          <ac:chgData name="Arlette Simon" userId="f8e6e685-e2ee-4044-a307-57648a3e1d7f" providerId="ADAL" clId="{E743E4AA-11AD-4765-83A7-99ECEACBDB7B}" dt="2025-11-14T09:35:07.925" v="206" actId="18245"/>
          <ac:graphicFrameMkLst>
            <pc:docMk/>
            <pc:sldMk cId="1330495849" sldId="297"/>
            <ac:graphicFrameMk id="4" creationId="{B0C79137-3839-B858-3897-88CA55EB15F9}"/>
          </ac:graphicFrameMkLst>
        </pc:graphicFrameChg>
      </pc:sldChg>
      <pc:sldChg chg="addSp delSp modSp mod chgLayout">
        <pc:chgData name="Arlette Simon" userId="f8e6e685-e2ee-4044-a307-57648a3e1d7f" providerId="ADAL" clId="{E743E4AA-11AD-4765-83A7-99ECEACBDB7B}" dt="2025-11-14T10:44:26.592" v="238" actId="179"/>
        <pc:sldMkLst>
          <pc:docMk/>
          <pc:sldMk cId="3736899325" sldId="298"/>
        </pc:sldMkLst>
        <pc:spChg chg="mod ord">
          <ac:chgData name="Arlette Simon" userId="f8e6e685-e2ee-4044-a307-57648a3e1d7f" providerId="ADAL" clId="{E743E4AA-11AD-4765-83A7-99ECEACBDB7B}" dt="2025-11-14T10:43:46.039" v="232" actId="6264"/>
          <ac:spMkLst>
            <pc:docMk/>
            <pc:sldMk cId="3736899325" sldId="298"/>
            <ac:spMk id="2" creationId="{0AE27170-03E6-DB72-2DEE-EACEF69C85FC}"/>
          </ac:spMkLst>
        </pc:spChg>
        <pc:spChg chg="add del mod">
          <ac:chgData name="Arlette Simon" userId="f8e6e685-e2ee-4044-a307-57648a3e1d7f" providerId="ADAL" clId="{E743E4AA-11AD-4765-83A7-99ECEACBDB7B}" dt="2025-11-14T10:43:46.039" v="232" actId="6264"/>
          <ac:spMkLst>
            <pc:docMk/>
            <pc:sldMk cId="3736899325" sldId="298"/>
            <ac:spMk id="3" creationId="{0E115AF8-9591-A8F7-9549-3BA3C725B1F4}"/>
          </ac:spMkLst>
        </pc:spChg>
        <pc:spChg chg="add del mod">
          <ac:chgData name="Arlette Simon" userId="f8e6e685-e2ee-4044-a307-57648a3e1d7f" providerId="ADAL" clId="{E743E4AA-11AD-4765-83A7-99ECEACBDB7B}" dt="2025-11-14T10:43:46.039" v="232" actId="6264"/>
          <ac:spMkLst>
            <pc:docMk/>
            <pc:sldMk cId="3736899325" sldId="298"/>
            <ac:spMk id="4" creationId="{A46F9F60-92FD-F76B-5E0E-D41BCEC92956}"/>
          </ac:spMkLst>
        </pc:spChg>
        <pc:spChg chg="add mod">
          <ac:chgData name="Arlette Simon" userId="f8e6e685-e2ee-4044-a307-57648a3e1d7f" providerId="ADAL" clId="{E743E4AA-11AD-4765-83A7-99ECEACBDB7B}" dt="2025-11-14T10:44:26.592" v="238" actId="179"/>
          <ac:spMkLst>
            <pc:docMk/>
            <pc:sldMk cId="3736899325" sldId="298"/>
            <ac:spMk id="7" creationId="{361C0EB8-0F6F-8EE8-168B-84E6288A1339}"/>
          </ac:spMkLst>
        </pc:spChg>
        <pc:graphicFrameChg chg="del mod ord">
          <ac:chgData name="Arlette Simon" userId="f8e6e685-e2ee-4044-a307-57648a3e1d7f" providerId="ADAL" clId="{E743E4AA-11AD-4765-83A7-99ECEACBDB7B}" dt="2025-11-14T10:44:00.022" v="234" actId="478"/>
          <ac:graphicFrameMkLst>
            <pc:docMk/>
            <pc:sldMk cId="3736899325" sldId="298"/>
            <ac:graphicFrameMk id="6" creationId="{E61788CA-23A6-C7D4-B2EE-82195AE7D8CE}"/>
          </ac:graphicFrameMkLst>
        </pc:graphicFrameChg>
      </pc:sldChg>
      <pc:sldChg chg="addSp delSp modSp mod chgLayout">
        <pc:chgData name="Arlette Simon" userId="f8e6e685-e2ee-4044-a307-57648a3e1d7f" providerId="ADAL" clId="{E743E4AA-11AD-4765-83A7-99ECEACBDB7B}" dt="2025-11-14T14:53:19.671" v="1018" actId="114"/>
        <pc:sldMkLst>
          <pc:docMk/>
          <pc:sldMk cId="2711750974" sldId="300"/>
        </pc:sldMkLst>
        <pc:spChg chg="mod ord">
          <ac:chgData name="Arlette Simon" userId="f8e6e685-e2ee-4044-a307-57648a3e1d7f" providerId="ADAL" clId="{E743E4AA-11AD-4765-83A7-99ECEACBDB7B}" dt="2025-11-14T11:25:19.311" v="442" actId="6264"/>
          <ac:spMkLst>
            <pc:docMk/>
            <pc:sldMk cId="2711750974" sldId="300"/>
            <ac:spMk id="2" creationId="{A2FC9EA2-D563-5E07-179D-68A12A28DA6A}"/>
          </ac:spMkLst>
        </pc:spChg>
        <pc:spChg chg="add del mod">
          <ac:chgData name="Arlette Simon" userId="f8e6e685-e2ee-4044-a307-57648a3e1d7f" providerId="ADAL" clId="{E743E4AA-11AD-4765-83A7-99ECEACBDB7B}" dt="2025-11-14T11:25:19.311" v="442" actId="6264"/>
          <ac:spMkLst>
            <pc:docMk/>
            <pc:sldMk cId="2711750974" sldId="300"/>
            <ac:spMk id="3" creationId="{AEAFC11D-32E0-3593-C341-D6D471EA3BFF}"/>
          </ac:spMkLst>
        </pc:spChg>
        <pc:spChg chg="mod ord">
          <ac:chgData name="Arlette Simon" userId="f8e6e685-e2ee-4044-a307-57648a3e1d7f" providerId="ADAL" clId="{E743E4AA-11AD-4765-83A7-99ECEACBDB7B}" dt="2025-11-14T11:25:19.311" v="442" actId="6264"/>
          <ac:spMkLst>
            <pc:docMk/>
            <pc:sldMk cId="2711750974" sldId="300"/>
            <ac:spMk id="4" creationId="{B58E04FE-E74E-C5A2-F06B-FA7CFDB552DE}"/>
          </ac:spMkLst>
        </pc:spChg>
        <pc:spChg chg="mod ord">
          <ac:chgData name="Arlette Simon" userId="f8e6e685-e2ee-4044-a307-57648a3e1d7f" providerId="ADAL" clId="{E743E4AA-11AD-4765-83A7-99ECEACBDB7B}" dt="2025-11-14T11:25:19.311" v="442" actId="6264"/>
          <ac:spMkLst>
            <pc:docMk/>
            <pc:sldMk cId="2711750974" sldId="300"/>
            <ac:spMk id="5" creationId="{0AA18A08-F3CA-0F2C-937D-E9909BA409DC}"/>
          </ac:spMkLst>
        </pc:spChg>
        <pc:spChg chg="add del mod">
          <ac:chgData name="Arlette Simon" userId="f8e6e685-e2ee-4044-a307-57648a3e1d7f" providerId="ADAL" clId="{E743E4AA-11AD-4765-83A7-99ECEACBDB7B}" dt="2025-11-14T11:25:19.311" v="442" actId="6264"/>
          <ac:spMkLst>
            <pc:docMk/>
            <pc:sldMk cId="2711750974" sldId="300"/>
            <ac:spMk id="6" creationId="{ACA0FAC9-A900-F03F-40A6-DEB8E06ACB4E}"/>
          </ac:spMkLst>
        </pc:spChg>
        <pc:spChg chg="add del mod">
          <ac:chgData name="Arlette Simon" userId="f8e6e685-e2ee-4044-a307-57648a3e1d7f" providerId="ADAL" clId="{E743E4AA-11AD-4765-83A7-99ECEACBDB7B}" dt="2025-11-14T11:25:19.311" v="442" actId="6264"/>
          <ac:spMkLst>
            <pc:docMk/>
            <pc:sldMk cId="2711750974" sldId="300"/>
            <ac:spMk id="7" creationId="{F3400D13-1DD7-2640-7181-A222AAB15186}"/>
          </ac:spMkLst>
        </pc:spChg>
        <pc:spChg chg="add del mod">
          <ac:chgData name="Arlette Simon" userId="f8e6e685-e2ee-4044-a307-57648a3e1d7f" providerId="ADAL" clId="{E743E4AA-11AD-4765-83A7-99ECEACBDB7B}" dt="2025-11-14T11:25:19.311" v="442" actId="6264"/>
          <ac:spMkLst>
            <pc:docMk/>
            <pc:sldMk cId="2711750974" sldId="300"/>
            <ac:spMk id="8" creationId="{1792B61F-B591-15B6-C6D4-E52CA0E78240}"/>
          </ac:spMkLst>
        </pc:spChg>
        <pc:spChg chg="mod ord">
          <ac:chgData name="Arlette Simon" userId="f8e6e685-e2ee-4044-a307-57648a3e1d7f" providerId="ADAL" clId="{E743E4AA-11AD-4765-83A7-99ECEACBDB7B}" dt="2025-11-14T14:53:19.671" v="1018" actId="114"/>
          <ac:spMkLst>
            <pc:docMk/>
            <pc:sldMk cId="2711750974" sldId="300"/>
            <ac:spMk id="44" creationId="{059E2CF8-5EA5-2D8A-763A-C8D1FAEEAB6A}"/>
          </ac:spMkLst>
        </pc:spChg>
      </pc:sldChg>
      <pc:sldChg chg="modSp mod">
        <pc:chgData name="Arlette Simon" userId="f8e6e685-e2ee-4044-a307-57648a3e1d7f" providerId="ADAL" clId="{E743E4AA-11AD-4765-83A7-99ECEACBDB7B}" dt="2025-11-14T11:26:32.330" v="475" actId="15"/>
        <pc:sldMkLst>
          <pc:docMk/>
          <pc:sldMk cId="3009038117" sldId="301"/>
        </pc:sldMkLst>
        <pc:spChg chg="mod">
          <ac:chgData name="Arlette Simon" userId="f8e6e685-e2ee-4044-a307-57648a3e1d7f" providerId="ADAL" clId="{E743E4AA-11AD-4765-83A7-99ECEACBDB7B}" dt="2025-11-14T11:26:32.330" v="475" actId="15"/>
          <ac:spMkLst>
            <pc:docMk/>
            <pc:sldMk cId="3009038117" sldId="301"/>
            <ac:spMk id="44" creationId="{059E2CF8-5EA5-2D8A-763A-C8D1FAEEAB6A}"/>
          </ac:spMkLst>
        </pc:spChg>
      </pc:sldChg>
      <pc:sldChg chg="addSp delSp modSp mod chgLayout">
        <pc:chgData name="Arlette Simon" userId="f8e6e685-e2ee-4044-a307-57648a3e1d7f" providerId="ADAL" clId="{E743E4AA-11AD-4765-83A7-99ECEACBDB7B}" dt="2025-11-14T11:26:59.052" v="486" actId="20577"/>
        <pc:sldMkLst>
          <pc:docMk/>
          <pc:sldMk cId="1936058774" sldId="302"/>
        </pc:sldMkLst>
        <pc:spChg chg="mod ord">
          <ac:chgData name="Arlette Simon" userId="f8e6e685-e2ee-4044-a307-57648a3e1d7f" providerId="ADAL" clId="{E743E4AA-11AD-4765-83A7-99ECEACBDB7B}" dt="2025-11-14T11:26:50.940" v="479" actId="6264"/>
          <ac:spMkLst>
            <pc:docMk/>
            <pc:sldMk cId="1936058774" sldId="302"/>
            <ac:spMk id="2" creationId="{A2FC9EA2-D563-5E07-179D-68A12A28DA6A}"/>
          </ac:spMkLst>
        </pc:spChg>
        <pc:spChg chg="add del mod">
          <ac:chgData name="Arlette Simon" userId="f8e6e685-e2ee-4044-a307-57648a3e1d7f" providerId="ADAL" clId="{E743E4AA-11AD-4765-83A7-99ECEACBDB7B}" dt="2025-11-14T11:26:50.940" v="479" actId="6264"/>
          <ac:spMkLst>
            <pc:docMk/>
            <pc:sldMk cId="1936058774" sldId="302"/>
            <ac:spMk id="3" creationId="{F2F64EFD-D954-99CB-E0EE-BF74E0EA62E7}"/>
          </ac:spMkLst>
        </pc:spChg>
        <pc:spChg chg="mod ord">
          <ac:chgData name="Arlette Simon" userId="f8e6e685-e2ee-4044-a307-57648a3e1d7f" providerId="ADAL" clId="{E743E4AA-11AD-4765-83A7-99ECEACBDB7B}" dt="2025-11-14T11:26:50.940" v="479" actId="6264"/>
          <ac:spMkLst>
            <pc:docMk/>
            <pc:sldMk cId="1936058774" sldId="302"/>
            <ac:spMk id="4" creationId="{B58E04FE-E74E-C5A2-F06B-FA7CFDB552DE}"/>
          </ac:spMkLst>
        </pc:spChg>
        <pc:spChg chg="mod ord">
          <ac:chgData name="Arlette Simon" userId="f8e6e685-e2ee-4044-a307-57648a3e1d7f" providerId="ADAL" clId="{E743E4AA-11AD-4765-83A7-99ECEACBDB7B}" dt="2025-11-14T11:26:50.940" v="479" actId="6264"/>
          <ac:spMkLst>
            <pc:docMk/>
            <pc:sldMk cId="1936058774" sldId="302"/>
            <ac:spMk id="5" creationId="{0AA18A08-F3CA-0F2C-937D-E9909BA409DC}"/>
          </ac:spMkLst>
        </pc:spChg>
        <pc:spChg chg="add del mod">
          <ac:chgData name="Arlette Simon" userId="f8e6e685-e2ee-4044-a307-57648a3e1d7f" providerId="ADAL" clId="{E743E4AA-11AD-4765-83A7-99ECEACBDB7B}" dt="2025-11-14T11:26:50.940" v="479" actId="6264"/>
          <ac:spMkLst>
            <pc:docMk/>
            <pc:sldMk cId="1936058774" sldId="302"/>
            <ac:spMk id="6" creationId="{D6B037B0-49BA-B3FB-B890-8302E2DF85B1}"/>
          </ac:spMkLst>
        </pc:spChg>
        <pc:spChg chg="add del mod">
          <ac:chgData name="Arlette Simon" userId="f8e6e685-e2ee-4044-a307-57648a3e1d7f" providerId="ADAL" clId="{E743E4AA-11AD-4765-83A7-99ECEACBDB7B}" dt="2025-11-14T11:26:50.940" v="479" actId="6264"/>
          <ac:spMkLst>
            <pc:docMk/>
            <pc:sldMk cId="1936058774" sldId="302"/>
            <ac:spMk id="7" creationId="{D5CBB64B-9092-D584-9B55-4056796F2F1B}"/>
          </ac:spMkLst>
        </pc:spChg>
        <pc:spChg chg="add del mod">
          <ac:chgData name="Arlette Simon" userId="f8e6e685-e2ee-4044-a307-57648a3e1d7f" providerId="ADAL" clId="{E743E4AA-11AD-4765-83A7-99ECEACBDB7B}" dt="2025-11-14T11:26:50.940" v="479" actId="6264"/>
          <ac:spMkLst>
            <pc:docMk/>
            <pc:sldMk cId="1936058774" sldId="302"/>
            <ac:spMk id="8" creationId="{DC2F92CA-6E88-BD7D-2424-AE0033E7BC4E}"/>
          </ac:spMkLst>
        </pc:spChg>
        <pc:spChg chg="mod ord">
          <ac:chgData name="Arlette Simon" userId="f8e6e685-e2ee-4044-a307-57648a3e1d7f" providerId="ADAL" clId="{E743E4AA-11AD-4765-83A7-99ECEACBDB7B}" dt="2025-11-14T11:26:59.052" v="486" actId="20577"/>
          <ac:spMkLst>
            <pc:docMk/>
            <pc:sldMk cId="1936058774" sldId="302"/>
            <ac:spMk id="44" creationId="{059E2CF8-5EA5-2D8A-763A-C8D1FAEEAB6A}"/>
          </ac:spMkLst>
        </pc:spChg>
      </pc:sldChg>
      <pc:sldChg chg="addSp delSp modSp mod chgLayout">
        <pc:chgData name="Arlette Simon" userId="f8e6e685-e2ee-4044-a307-57648a3e1d7f" providerId="ADAL" clId="{E743E4AA-11AD-4765-83A7-99ECEACBDB7B}" dt="2025-11-14T14:54:11.052" v="1020" actId="57"/>
        <pc:sldMkLst>
          <pc:docMk/>
          <pc:sldMk cId="2223038302" sldId="303"/>
        </pc:sldMkLst>
        <pc:spChg chg="mod ord">
          <ac:chgData name="Arlette Simon" userId="f8e6e685-e2ee-4044-a307-57648a3e1d7f" providerId="ADAL" clId="{E743E4AA-11AD-4765-83A7-99ECEACBDB7B}" dt="2025-11-14T11:27:06.045" v="487" actId="6264"/>
          <ac:spMkLst>
            <pc:docMk/>
            <pc:sldMk cId="2223038302" sldId="303"/>
            <ac:spMk id="2" creationId="{A2FC9EA2-D563-5E07-179D-68A12A28DA6A}"/>
          </ac:spMkLst>
        </pc:spChg>
        <pc:spChg chg="add del mod">
          <ac:chgData name="Arlette Simon" userId="f8e6e685-e2ee-4044-a307-57648a3e1d7f" providerId="ADAL" clId="{E743E4AA-11AD-4765-83A7-99ECEACBDB7B}" dt="2025-11-14T11:27:06.045" v="487" actId="6264"/>
          <ac:spMkLst>
            <pc:docMk/>
            <pc:sldMk cId="2223038302" sldId="303"/>
            <ac:spMk id="3" creationId="{B7249C0F-4878-54B0-CF87-ED6B2E7660ED}"/>
          </ac:spMkLst>
        </pc:spChg>
        <pc:spChg chg="mod ord">
          <ac:chgData name="Arlette Simon" userId="f8e6e685-e2ee-4044-a307-57648a3e1d7f" providerId="ADAL" clId="{E743E4AA-11AD-4765-83A7-99ECEACBDB7B}" dt="2025-11-14T11:27:06.045" v="487" actId="6264"/>
          <ac:spMkLst>
            <pc:docMk/>
            <pc:sldMk cId="2223038302" sldId="303"/>
            <ac:spMk id="4" creationId="{B58E04FE-E74E-C5A2-F06B-FA7CFDB552DE}"/>
          </ac:spMkLst>
        </pc:spChg>
        <pc:spChg chg="mod ord">
          <ac:chgData name="Arlette Simon" userId="f8e6e685-e2ee-4044-a307-57648a3e1d7f" providerId="ADAL" clId="{E743E4AA-11AD-4765-83A7-99ECEACBDB7B}" dt="2025-11-14T11:27:06.045" v="487" actId="6264"/>
          <ac:spMkLst>
            <pc:docMk/>
            <pc:sldMk cId="2223038302" sldId="303"/>
            <ac:spMk id="5" creationId="{0AA18A08-F3CA-0F2C-937D-E9909BA409DC}"/>
          </ac:spMkLst>
        </pc:spChg>
        <pc:spChg chg="add del mod">
          <ac:chgData name="Arlette Simon" userId="f8e6e685-e2ee-4044-a307-57648a3e1d7f" providerId="ADAL" clId="{E743E4AA-11AD-4765-83A7-99ECEACBDB7B}" dt="2025-11-14T11:27:06.045" v="487" actId="6264"/>
          <ac:spMkLst>
            <pc:docMk/>
            <pc:sldMk cId="2223038302" sldId="303"/>
            <ac:spMk id="6" creationId="{3731C241-0EB5-2B08-1ECA-FB1CFF9FA0BF}"/>
          </ac:spMkLst>
        </pc:spChg>
        <pc:spChg chg="add del mod">
          <ac:chgData name="Arlette Simon" userId="f8e6e685-e2ee-4044-a307-57648a3e1d7f" providerId="ADAL" clId="{E743E4AA-11AD-4765-83A7-99ECEACBDB7B}" dt="2025-11-14T11:27:06.045" v="487" actId="6264"/>
          <ac:spMkLst>
            <pc:docMk/>
            <pc:sldMk cId="2223038302" sldId="303"/>
            <ac:spMk id="7" creationId="{DECC3C12-2847-F4F0-1797-85F478FC1B20}"/>
          </ac:spMkLst>
        </pc:spChg>
        <pc:spChg chg="add del mod">
          <ac:chgData name="Arlette Simon" userId="f8e6e685-e2ee-4044-a307-57648a3e1d7f" providerId="ADAL" clId="{E743E4AA-11AD-4765-83A7-99ECEACBDB7B}" dt="2025-11-14T11:27:06.045" v="487" actId="6264"/>
          <ac:spMkLst>
            <pc:docMk/>
            <pc:sldMk cId="2223038302" sldId="303"/>
            <ac:spMk id="8" creationId="{9F409302-558C-E7C6-B7B3-B8B379F17DD7}"/>
          </ac:spMkLst>
        </pc:spChg>
        <pc:spChg chg="mod ord">
          <ac:chgData name="Arlette Simon" userId="f8e6e685-e2ee-4044-a307-57648a3e1d7f" providerId="ADAL" clId="{E743E4AA-11AD-4765-83A7-99ECEACBDB7B}" dt="2025-11-14T14:54:11.052" v="1020" actId="57"/>
          <ac:spMkLst>
            <pc:docMk/>
            <pc:sldMk cId="2223038302" sldId="303"/>
            <ac:spMk id="44" creationId="{059E2CF8-5EA5-2D8A-763A-C8D1FAEEAB6A}"/>
          </ac:spMkLst>
        </pc:spChg>
      </pc:sldChg>
      <pc:sldChg chg="modSp mod">
        <pc:chgData name="Arlette Simon" userId="f8e6e685-e2ee-4044-a307-57648a3e1d7f" providerId="ADAL" clId="{E743E4AA-11AD-4765-83A7-99ECEACBDB7B}" dt="2025-11-14T14:54:24.291" v="1021" actId="20577"/>
        <pc:sldMkLst>
          <pc:docMk/>
          <pc:sldMk cId="3901367942" sldId="304"/>
        </pc:sldMkLst>
        <pc:spChg chg="mod">
          <ac:chgData name="Arlette Simon" userId="f8e6e685-e2ee-4044-a307-57648a3e1d7f" providerId="ADAL" clId="{E743E4AA-11AD-4765-83A7-99ECEACBDB7B}" dt="2025-11-14T14:54:24.291" v="1021" actId="20577"/>
          <ac:spMkLst>
            <pc:docMk/>
            <pc:sldMk cId="3901367942" sldId="304"/>
            <ac:spMk id="2" creationId="{A2FC9EA2-D563-5E07-179D-68A12A28DA6A}"/>
          </ac:spMkLst>
        </pc:spChg>
      </pc:sldChg>
      <pc:sldChg chg="modSp mod">
        <pc:chgData name="Arlette Simon" userId="f8e6e685-e2ee-4044-a307-57648a3e1d7f" providerId="ADAL" clId="{E743E4AA-11AD-4765-83A7-99ECEACBDB7B}" dt="2025-11-14T11:28:02.073" v="510" actId="6549"/>
        <pc:sldMkLst>
          <pc:docMk/>
          <pc:sldMk cId="3970701856" sldId="305"/>
        </pc:sldMkLst>
        <pc:spChg chg="mod">
          <ac:chgData name="Arlette Simon" userId="f8e6e685-e2ee-4044-a307-57648a3e1d7f" providerId="ADAL" clId="{E743E4AA-11AD-4765-83A7-99ECEACBDB7B}" dt="2025-11-14T11:28:02.073" v="510" actId="6549"/>
          <ac:spMkLst>
            <pc:docMk/>
            <pc:sldMk cId="3970701856" sldId="305"/>
            <ac:spMk id="44" creationId="{059E2CF8-5EA5-2D8A-763A-C8D1FAEEAB6A}"/>
          </ac:spMkLst>
        </pc:spChg>
      </pc:sldChg>
      <pc:sldChg chg="addSp delSp modSp mod modClrScheme chgLayout">
        <pc:chgData name="Arlette Simon" userId="f8e6e685-e2ee-4044-a307-57648a3e1d7f" providerId="ADAL" clId="{E743E4AA-11AD-4765-83A7-99ECEACBDB7B}" dt="2025-11-14T13:21:16.906" v="532" actId="1076"/>
        <pc:sldMkLst>
          <pc:docMk/>
          <pc:sldMk cId="921230606" sldId="306"/>
        </pc:sldMkLst>
        <pc:spChg chg="mod ord">
          <ac:chgData name="Arlette Simon" userId="f8e6e685-e2ee-4044-a307-57648a3e1d7f" providerId="ADAL" clId="{E743E4AA-11AD-4765-83A7-99ECEACBDB7B}" dt="2025-11-14T13:21:04.509" v="529" actId="6264"/>
          <ac:spMkLst>
            <pc:docMk/>
            <pc:sldMk cId="921230606" sldId="306"/>
            <ac:spMk id="2" creationId="{76578F8E-3EDD-F23A-31E4-64353A400704}"/>
          </ac:spMkLst>
        </pc:spChg>
        <pc:spChg chg="add del mod">
          <ac:chgData name="Arlette Simon" userId="f8e6e685-e2ee-4044-a307-57648a3e1d7f" providerId="ADAL" clId="{E743E4AA-11AD-4765-83A7-99ECEACBDB7B}" dt="2025-11-14T13:20:56.467" v="526" actId="6264"/>
          <ac:spMkLst>
            <pc:docMk/>
            <pc:sldMk cId="921230606" sldId="306"/>
            <ac:spMk id="3" creationId="{D773881E-AD19-8E66-AC61-F5ADC923F243}"/>
          </ac:spMkLst>
        </pc:spChg>
        <pc:spChg chg="mod ord">
          <ac:chgData name="Arlette Simon" userId="f8e6e685-e2ee-4044-a307-57648a3e1d7f" providerId="ADAL" clId="{E743E4AA-11AD-4765-83A7-99ECEACBDB7B}" dt="2025-11-14T13:21:04.509" v="529" actId="6264"/>
          <ac:spMkLst>
            <pc:docMk/>
            <pc:sldMk cId="921230606" sldId="306"/>
            <ac:spMk id="4" creationId="{3BC396ED-3F20-EE74-DB55-24D78E292BC0}"/>
          </ac:spMkLst>
        </pc:spChg>
        <pc:spChg chg="mod ord">
          <ac:chgData name="Arlette Simon" userId="f8e6e685-e2ee-4044-a307-57648a3e1d7f" providerId="ADAL" clId="{E743E4AA-11AD-4765-83A7-99ECEACBDB7B}" dt="2025-11-14T13:21:04.509" v="529" actId="6264"/>
          <ac:spMkLst>
            <pc:docMk/>
            <pc:sldMk cId="921230606" sldId="306"/>
            <ac:spMk id="5" creationId="{592653B3-6D72-D7CC-962C-FF53138F5D9A}"/>
          </ac:spMkLst>
        </pc:spChg>
        <pc:spChg chg="add del mod">
          <ac:chgData name="Arlette Simon" userId="f8e6e685-e2ee-4044-a307-57648a3e1d7f" providerId="ADAL" clId="{E743E4AA-11AD-4765-83A7-99ECEACBDB7B}" dt="2025-11-14T13:20:56.467" v="526" actId="6264"/>
          <ac:spMkLst>
            <pc:docMk/>
            <pc:sldMk cId="921230606" sldId="306"/>
            <ac:spMk id="6" creationId="{D7A357F4-E027-EAC1-8535-66DC7BBE23EB}"/>
          </ac:spMkLst>
        </pc:spChg>
        <pc:spChg chg="add del mod">
          <ac:chgData name="Arlette Simon" userId="f8e6e685-e2ee-4044-a307-57648a3e1d7f" providerId="ADAL" clId="{E743E4AA-11AD-4765-83A7-99ECEACBDB7B}" dt="2025-11-14T13:20:56.467" v="526" actId="6264"/>
          <ac:spMkLst>
            <pc:docMk/>
            <pc:sldMk cId="921230606" sldId="306"/>
            <ac:spMk id="8" creationId="{CA9959AD-AF25-5412-51D3-D8267A20884A}"/>
          </ac:spMkLst>
        </pc:spChg>
        <pc:spChg chg="add del mod">
          <ac:chgData name="Arlette Simon" userId="f8e6e685-e2ee-4044-a307-57648a3e1d7f" providerId="ADAL" clId="{E743E4AA-11AD-4765-83A7-99ECEACBDB7B}" dt="2025-11-14T13:20:56.467" v="526" actId="6264"/>
          <ac:spMkLst>
            <pc:docMk/>
            <pc:sldMk cId="921230606" sldId="306"/>
            <ac:spMk id="9" creationId="{F2985206-4F12-6CE2-CD64-E519650D940F}"/>
          </ac:spMkLst>
        </pc:spChg>
        <pc:spChg chg="add del mod">
          <ac:chgData name="Arlette Simon" userId="f8e6e685-e2ee-4044-a307-57648a3e1d7f" providerId="ADAL" clId="{E743E4AA-11AD-4765-83A7-99ECEACBDB7B}" dt="2025-11-14T13:20:56.467" v="526" actId="6264"/>
          <ac:spMkLst>
            <pc:docMk/>
            <pc:sldMk cId="921230606" sldId="306"/>
            <ac:spMk id="10" creationId="{B4725675-DA07-9526-E384-70C8A5865C3B}"/>
          </ac:spMkLst>
        </pc:spChg>
        <pc:spChg chg="add del mod">
          <ac:chgData name="Arlette Simon" userId="f8e6e685-e2ee-4044-a307-57648a3e1d7f" providerId="ADAL" clId="{E743E4AA-11AD-4765-83A7-99ECEACBDB7B}" dt="2025-11-14T13:21:04.509" v="529" actId="6264"/>
          <ac:spMkLst>
            <pc:docMk/>
            <pc:sldMk cId="921230606" sldId="306"/>
            <ac:spMk id="11" creationId="{F78177C4-6187-4E46-0C98-F1A3D70B5A3C}"/>
          </ac:spMkLst>
        </pc:spChg>
        <pc:spChg chg="add del mod">
          <ac:chgData name="Arlette Simon" userId="f8e6e685-e2ee-4044-a307-57648a3e1d7f" providerId="ADAL" clId="{E743E4AA-11AD-4765-83A7-99ECEACBDB7B}" dt="2025-11-14T13:21:04.509" v="529" actId="6264"/>
          <ac:spMkLst>
            <pc:docMk/>
            <pc:sldMk cId="921230606" sldId="306"/>
            <ac:spMk id="12" creationId="{21E7BBD2-3501-106F-5665-F9A8E9C3438F}"/>
          </ac:spMkLst>
        </pc:spChg>
        <pc:spChg chg="add del mod">
          <ac:chgData name="Arlette Simon" userId="f8e6e685-e2ee-4044-a307-57648a3e1d7f" providerId="ADAL" clId="{E743E4AA-11AD-4765-83A7-99ECEACBDB7B}" dt="2025-11-14T13:21:04.509" v="529" actId="6264"/>
          <ac:spMkLst>
            <pc:docMk/>
            <pc:sldMk cId="921230606" sldId="306"/>
            <ac:spMk id="13" creationId="{1BA389C9-9A85-8D13-E33C-E589D4E42E3C}"/>
          </ac:spMkLst>
        </pc:spChg>
        <pc:spChg chg="add del mod">
          <ac:chgData name="Arlette Simon" userId="f8e6e685-e2ee-4044-a307-57648a3e1d7f" providerId="ADAL" clId="{E743E4AA-11AD-4765-83A7-99ECEACBDB7B}" dt="2025-11-14T13:21:04.509" v="529" actId="6264"/>
          <ac:spMkLst>
            <pc:docMk/>
            <pc:sldMk cId="921230606" sldId="306"/>
            <ac:spMk id="14" creationId="{809FDC9C-6D64-8F58-6549-8CC2C17399CF}"/>
          </ac:spMkLst>
        </pc:spChg>
        <pc:spChg chg="mod ord">
          <ac:chgData name="Arlette Simon" userId="f8e6e685-e2ee-4044-a307-57648a3e1d7f" providerId="ADAL" clId="{E743E4AA-11AD-4765-83A7-99ECEACBDB7B}" dt="2025-11-14T13:21:11.171" v="531" actId="14100"/>
          <ac:spMkLst>
            <pc:docMk/>
            <pc:sldMk cId="921230606" sldId="306"/>
            <ac:spMk id="44" creationId="{6D71E745-3BF9-289E-98D6-323CE8FA9B73}"/>
          </ac:spMkLst>
        </pc:spChg>
        <pc:picChg chg="mod ord">
          <ac:chgData name="Arlette Simon" userId="f8e6e685-e2ee-4044-a307-57648a3e1d7f" providerId="ADAL" clId="{E743E4AA-11AD-4765-83A7-99ECEACBDB7B}" dt="2025-11-14T13:21:16.906" v="532" actId="1076"/>
          <ac:picMkLst>
            <pc:docMk/>
            <pc:sldMk cId="921230606" sldId="306"/>
            <ac:picMk id="7" creationId="{00000000-0000-0000-0000-000000000000}"/>
          </ac:picMkLst>
        </pc:picChg>
      </pc:sldChg>
      <pc:sldChg chg="modSp mod">
        <pc:chgData name="Arlette Simon" userId="f8e6e685-e2ee-4044-a307-57648a3e1d7f" providerId="ADAL" clId="{E743E4AA-11AD-4765-83A7-99ECEACBDB7B}" dt="2025-11-14T13:22:09.715" v="544" actId="20577"/>
        <pc:sldMkLst>
          <pc:docMk/>
          <pc:sldMk cId="4263564045" sldId="307"/>
        </pc:sldMkLst>
        <pc:spChg chg="mod">
          <ac:chgData name="Arlette Simon" userId="f8e6e685-e2ee-4044-a307-57648a3e1d7f" providerId="ADAL" clId="{E743E4AA-11AD-4765-83A7-99ECEACBDB7B}" dt="2025-11-14T13:22:09.715" v="544" actId="20577"/>
          <ac:spMkLst>
            <pc:docMk/>
            <pc:sldMk cId="4263564045" sldId="307"/>
            <ac:spMk id="44" creationId="{059E2CF8-5EA5-2D8A-763A-C8D1FAEEAB6A}"/>
          </ac:spMkLst>
        </pc:spChg>
      </pc:sldChg>
      <pc:sldChg chg="modSp mod">
        <pc:chgData name="Arlette Simon" userId="f8e6e685-e2ee-4044-a307-57648a3e1d7f" providerId="ADAL" clId="{E743E4AA-11AD-4765-83A7-99ECEACBDB7B}" dt="2025-11-14T13:22:26.645" v="551" actId="20577"/>
        <pc:sldMkLst>
          <pc:docMk/>
          <pc:sldMk cId="2059196852" sldId="308"/>
        </pc:sldMkLst>
        <pc:spChg chg="mod">
          <ac:chgData name="Arlette Simon" userId="f8e6e685-e2ee-4044-a307-57648a3e1d7f" providerId="ADAL" clId="{E743E4AA-11AD-4765-83A7-99ECEACBDB7B}" dt="2025-11-14T13:22:26.645" v="551" actId="20577"/>
          <ac:spMkLst>
            <pc:docMk/>
            <pc:sldMk cId="2059196852" sldId="308"/>
            <ac:spMk id="3" creationId="{00000000-0000-0000-0000-000000000000}"/>
          </ac:spMkLst>
        </pc:spChg>
      </pc:sldChg>
      <pc:sldChg chg="addSp delSp modSp mod chgLayout">
        <pc:chgData name="Arlette Simon" userId="f8e6e685-e2ee-4044-a307-57648a3e1d7f" providerId="ADAL" clId="{E743E4AA-11AD-4765-83A7-99ECEACBDB7B}" dt="2025-11-14T14:55:10.963" v="1022" actId="57"/>
        <pc:sldMkLst>
          <pc:docMk/>
          <pc:sldMk cId="3722033566" sldId="310"/>
        </pc:sldMkLst>
        <pc:spChg chg="mod ord">
          <ac:chgData name="Arlette Simon" userId="f8e6e685-e2ee-4044-a307-57648a3e1d7f" providerId="ADAL" clId="{E743E4AA-11AD-4765-83A7-99ECEACBDB7B}" dt="2025-11-14T13:22:58.705" v="552" actId="6264"/>
          <ac:spMkLst>
            <pc:docMk/>
            <pc:sldMk cId="3722033566" sldId="310"/>
            <ac:spMk id="2" creationId="{A2FC9EA2-D563-5E07-179D-68A12A28DA6A}"/>
          </ac:spMkLst>
        </pc:spChg>
        <pc:spChg chg="add del mod">
          <ac:chgData name="Arlette Simon" userId="f8e6e685-e2ee-4044-a307-57648a3e1d7f" providerId="ADAL" clId="{E743E4AA-11AD-4765-83A7-99ECEACBDB7B}" dt="2025-11-14T13:22:58.705" v="552" actId="6264"/>
          <ac:spMkLst>
            <pc:docMk/>
            <pc:sldMk cId="3722033566" sldId="310"/>
            <ac:spMk id="3" creationId="{2A79A264-9905-F124-52C3-DB8978AD7BFC}"/>
          </ac:spMkLst>
        </pc:spChg>
        <pc:spChg chg="mod ord">
          <ac:chgData name="Arlette Simon" userId="f8e6e685-e2ee-4044-a307-57648a3e1d7f" providerId="ADAL" clId="{E743E4AA-11AD-4765-83A7-99ECEACBDB7B}" dt="2025-11-14T13:22:58.705" v="552" actId="6264"/>
          <ac:spMkLst>
            <pc:docMk/>
            <pc:sldMk cId="3722033566" sldId="310"/>
            <ac:spMk id="4" creationId="{B58E04FE-E74E-C5A2-F06B-FA7CFDB552DE}"/>
          </ac:spMkLst>
        </pc:spChg>
        <pc:spChg chg="mod ord">
          <ac:chgData name="Arlette Simon" userId="f8e6e685-e2ee-4044-a307-57648a3e1d7f" providerId="ADAL" clId="{E743E4AA-11AD-4765-83A7-99ECEACBDB7B}" dt="2025-11-14T13:22:58.705" v="552" actId="6264"/>
          <ac:spMkLst>
            <pc:docMk/>
            <pc:sldMk cId="3722033566" sldId="310"/>
            <ac:spMk id="5" creationId="{0AA18A08-F3CA-0F2C-937D-E9909BA409DC}"/>
          </ac:spMkLst>
        </pc:spChg>
        <pc:spChg chg="add del mod">
          <ac:chgData name="Arlette Simon" userId="f8e6e685-e2ee-4044-a307-57648a3e1d7f" providerId="ADAL" clId="{E743E4AA-11AD-4765-83A7-99ECEACBDB7B}" dt="2025-11-14T13:22:58.705" v="552" actId="6264"/>
          <ac:spMkLst>
            <pc:docMk/>
            <pc:sldMk cId="3722033566" sldId="310"/>
            <ac:spMk id="6" creationId="{711878EF-1AF6-133C-2EE9-216AEB9942AB}"/>
          </ac:spMkLst>
        </pc:spChg>
        <pc:spChg chg="add del mod">
          <ac:chgData name="Arlette Simon" userId="f8e6e685-e2ee-4044-a307-57648a3e1d7f" providerId="ADAL" clId="{E743E4AA-11AD-4765-83A7-99ECEACBDB7B}" dt="2025-11-14T13:22:58.705" v="552" actId="6264"/>
          <ac:spMkLst>
            <pc:docMk/>
            <pc:sldMk cId="3722033566" sldId="310"/>
            <ac:spMk id="7" creationId="{2C328F8B-3EB8-D1CF-C63D-EB9A576F1491}"/>
          </ac:spMkLst>
        </pc:spChg>
        <pc:spChg chg="add del mod">
          <ac:chgData name="Arlette Simon" userId="f8e6e685-e2ee-4044-a307-57648a3e1d7f" providerId="ADAL" clId="{E743E4AA-11AD-4765-83A7-99ECEACBDB7B}" dt="2025-11-14T13:22:58.705" v="552" actId="6264"/>
          <ac:spMkLst>
            <pc:docMk/>
            <pc:sldMk cId="3722033566" sldId="310"/>
            <ac:spMk id="8" creationId="{D0607672-684D-1E58-880F-F8E422EDF818}"/>
          </ac:spMkLst>
        </pc:spChg>
        <pc:spChg chg="mod ord">
          <ac:chgData name="Arlette Simon" userId="f8e6e685-e2ee-4044-a307-57648a3e1d7f" providerId="ADAL" clId="{E743E4AA-11AD-4765-83A7-99ECEACBDB7B}" dt="2025-11-14T14:55:10.963" v="1022" actId="57"/>
          <ac:spMkLst>
            <pc:docMk/>
            <pc:sldMk cId="3722033566" sldId="310"/>
            <ac:spMk id="44" creationId="{059E2CF8-5EA5-2D8A-763A-C8D1FAEEAB6A}"/>
          </ac:spMkLst>
        </pc:spChg>
      </pc:sldChg>
      <pc:sldChg chg="addSp delSp modSp mod chgLayout">
        <pc:chgData name="Arlette Simon" userId="f8e6e685-e2ee-4044-a307-57648a3e1d7f" providerId="ADAL" clId="{E743E4AA-11AD-4765-83A7-99ECEACBDB7B}" dt="2025-11-14T13:24:44.460" v="571" actId="113"/>
        <pc:sldMkLst>
          <pc:docMk/>
          <pc:sldMk cId="3213157090" sldId="311"/>
        </pc:sldMkLst>
        <pc:spChg chg="mod ord">
          <ac:chgData name="Arlette Simon" userId="f8e6e685-e2ee-4044-a307-57648a3e1d7f" providerId="ADAL" clId="{E743E4AA-11AD-4765-83A7-99ECEACBDB7B}" dt="2025-11-14T13:23:25.361" v="554" actId="6264"/>
          <ac:spMkLst>
            <pc:docMk/>
            <pc:sldMk cId="3213157090" sldId="311"/>
            <ac:spMk id="2" creationId="{5B248F09-E927-5B30-3D61-D1DF81CBF3DB}"/>
          </ac:spMkLst>
        </pc:spChg>
        <pc:spChg chg="mod ord">
          <ac:chgData name="Arlette Simon" userId="f8e6e685-e2ee-4044-a307-57648a3e1d7f" providerId="ADAL" clId="{E743E4AA-11AD-4765-83A7-99ECEACBDB7B}" dt="2025-11-14T13:24:44.460" v="571" actId="113"/>
          <ac:spMkLst>
            <pc:docMk/>
            <pc:sldMk cId="3213157090" sldId="311"/>
            <ac:spMk id="3" creationId="{81F11598-6FF8-6035-5DBC-680B24D3597D}"/>
          </ac:spMkLst>
        </pc:spChg>
        <pc:spChg chg="add del mod">
          <ac:chgData name="Arlette Simon" userId="f8e6e685-e2ee-4044-a307-57648a3e1d7f" providerId="ADAL" clId="{E743E4AA-11AD-4765-83A7-99ECEACBDB7B}" dt="2025-11-14T13:23:25.361" v="554" actId="6264"/>
          <ac:spMkLst>
            <pc:docMk/>
            <pc:sldMk cId="3213157090" sldId="311"/>
            <ac:spMk id="4" creationId="{11E5C80B-0A66-98B8-DAFA-05E3306A039E}"/>
          </ac:spMkLst>
        </pc:spChg>
        <pc:spChg chg="add del mod">
          <ac:chgData name="Arlette Simon" userId="f8e6e685-e2ee-4044-a307-57648a3e1d7f" providerId="ADAL" clId="{E743E4AA-11AD-4765-83A7-99ECEACBDB7B}" dt="2025-11-14T13:23:25.361" v="554" actId="6264"/>
          <ac:spMkLst>
            <pc:docMk/>
            <pc:sldMk cId="3213157090" sldId="311"/>
            <ac:spMk id="5" creationId="{C254AFDF-3B8D-0FF8-B214-FAD2C4535B55}"/>
          </ac:spMkLst>
        </pc:spChg>
      </pc:sldChg>
      <pc:sldChg chg="modSp mod">
        <pc:chgData name="Arlette Simon" userId="f8e6e685-e2ee-4044-a307-57648a3e1d7f" providerId="ADAL" clId="{E743E4AA-11AD-4765-83A7-99ECEACBDB7B}" dt="2025-11-14T14:55:28.497" v="1023" actId="120"/>
        <pc:sldMkLst>
          <pc:docMk/>
          <pc:sldMk cId="1679996572" sldId="312"/>
        </pc:sldMkLst>
        <pc:spChg chg="mod">
          <ac:chgData name="Arlette Simon" userId="f8e6e685-e2ee-4044-a307-57648a3e1d7f" providerId="ADAL" clId="{E743E4AA-11AD-4765-83A7-99ECEACBDB7B}" dt="2025-11-14T14:55:28.497" v="1023" actId="120"/>
          <ac:spMkLst>
            <pc:docMk/>
            <pc:sldMk cId="1679996572" sldId="312"/>
            <ac:spMk id="2" creationId="{AEC050C9-794B-8C4B-0932-D07D7D394F8F}"/>
          </ac:spMkLst>
        </pc:spChg>
      </pc:sldChg>
      <pc:sldChg chg="addSp delSp modSp mod chgLayout">
        <pc:chgData name="Arlette Simon" userId="f8e6e685-e2ee-4044-a307-57648a3e1d7f" providerId="ADAL" clId="{E743E4AA-11AD-4765-83A7-99ECEACBDB7B}" dt="2025-11-14T13:26:45.712" v="585" actId="14100"/>
        <pc:sldMkLst>
          <pc:docMk/>
          <pc:sldMk cId="690514171" sldId="313"/>
        </pc:sldMkLst>
        <pc:spChg chg="mod ord">
          <ac:chgData name="Arlette Simon" userId="f8e6e685-e2ee-4044-a307-57648a3e1d7f" providerId="ADAL" clId="{E743E4AA-11AD-4765-83A7-99ECEACBDB7B}" dt="2025-11-14T13:25:25.013" v="572" actId="6264"/>
          <ac:spMkLst>
            <pc:docMk/>
            <pc:sldMk cId="690514171" sldId="313"/>
            <ac:spMk id="2" creationId="{E7A1305A-ABDB-4125-7D78-47E38D848287}"/>
          </ac:spMkLst>
        </pc:spChg>
        <pc:spChg chg="mod ord">
          <ac:chgData name="Arlette Simon" userId="f8e6e685-e2ee-4044-a307-57648a3e1d7f" providerId="ADAL" clId="{E743E4AA-11AD-4765-83A7-99ECEACBDB7B}" dt="2025-11-14T13:26:45.712" v="585" actId="14100"/>
          <ac:spMkLst>
            <pc:docMk/>
            <pc:sldMk cId="690514171" sldId="313"/>
            <ac:spMk id="3" creationId="{F4B7BDCA-FA56-FD59-A206-03DC3D8AA8F9}"/>
          </ac:spMkLst>
        </pc:spChg>
        <pc:spChg chg="add del mod">
          <ac:chgData name="Arlette Simon" userId="f8e6e685-e2ee-4044-a307-57648a3e1d7f" providerId="ADAL" clId="{E743E4AA-11AD-4765-83A7-99ECEACBDB7B}" dt="2025-11-14T13:25:25.013" v="572" actId="6264"/>
          <ac:spMkLst>
            <pc:docMk/>
            <pc:sldMk cId="690514171" sldId="313"/>
            <ac:spMk id="4" creationId="{869E5F92-35BE-58F5-C24A-C3F411D88568}"/>
          </ac:spMkLst>
        </pc:spChg>
        <pc:spChg chg="add del mod">
          <ac:chgData name="Arlette Simon" userId="f8e6e685-e2ee-4044-a307-57648a3e1d7f" providerId="ADAL" clId="{E743E4AA-11AD-4765-83A7-99ECEACBDB7B}" dt="2025-11-14T13:25:25.013" v="572" actId="6264"/>
          <ac:spMkLst>
            <pc:docMk/>
            <pc:sldMk cId="690514171" sldId="313"/>
            <ac:spMk id="5" creationId="{D0B4017E-35FF-1831-601B-AC96AE42DA33}"/>
          </ac:spMkLst>
        </pc:spChg>
      </pc:sldChg>
      <pc:sldChg chg="modSp mod">
        <pc:chgData name="Arlette Simon" userId="f8e6e685-e2ee-4044-a307-57648a3e1d7f" providerId="ADAL" clId="{E743E4AA-11AD-4765-83A7-99ECEACBDB7B}" dt="2025-11-14T14:56:01.465" v="1025" actId="14100"/>
        <pc:sldMkLst>
          <pc:docMk/>
          <pc:sldMk cId="3268631282" sldId="314"/>
        </pc:sldMkLst>
        <pc:graphicFrameChg chg="mod modGraphic">
          <ac:chgData name="Arlette Simon" userId="f8e6e685-e2ee-4044-a307-57648a3e1d7f" providerId="ADAL" clId="{E743E4AA-11AD-4765-83A7-99ECEACBDB7B}" dt="2025-11-14T14:56:01.465" v="1025" actId="14100"/>
          <ac:graphicFrameMkLst>
            <pc:docMk/>
            <pc:sldMk cId="3268631282" sldId="314"/>
            <ac:graphicFrameMk id="4" creationId="{1D9878C3-AD4C-0786-3761-D251BBADB052}"/>
          </ac:graphicFrameMkLst>
        </pc:graphicFrameChg>
      </pc:sldChg>
      <pc:sldChg chg="modSp mod">
        <pc:chgData name="Arlette Simon" userId="f8e6e685-e2ee-4044-a307-57648a3e1d7f" providerId="ADAL" clId="{E743E4AA-11AD-4765-83A7-99ECEACBDB7B}" dt="2025-11-14T13:29:07.316" v="616" actId="15"/>
        <pc:sldMkLst>
          <pc:docMk/>
          <pc:sldMk cId="2702506717" sldId="315"/>
        </pc:sldMkLst>
        <pc:spChg chg="mod">
          <ac:chgData name="Arlette Simon" userId="f8e6e685-e2ee-4044-a307-57648a3e1d7f" providerId="ADAL" clId="{E743E4AA-11AD-4765-83A7-99ECEACBDB7B}" dt="2025-11-14T13:29:07.316" v="616" actId="15"/>
          <ac:spMkLst>
            <pc:docMk/>
            <pc:sldMk cId="2702506717" sldId="315"/>
            <ac:spMk id="3" creationId="{B18758EB-18FC-DA74-57B7-B039A93A6B9C}"/>
          </ac:spMkLst>
        </pc:spChg>
      </pc:sldChg>
      <pc:sldChg chg="modSp mod">
        <pc:chgData name="Arlette Simon" userId="f8e6e685-e2ee-4044-a307-57648a3e1d7f" providerId="ADAL" clId="{E743E4AA-11AD-4765-83A7-99ECEACBDB7B}" dt="2025-11-14T13:30:47.828" v="638" actId="14100"/>
        <pc:sldMkLst>
          <pc:docMk/>
          <pc:sldMk cId="2141724607" sldId="316"/>
        </pc:sldMkLst>
        <pc:graphicFrameChg chg="mod modGraphic">
          <ac:chgData name="Arlette Simon" userId="f8e6e685-e2ee-4044-a307-57648a3e1d7f" providerId="ADAL" clId="{E743E4AA-11AD-4765-83A7-99ECEACBDB7B}" dt="2025-11-14T13:30:47.828" v="638" actId="14100"/>
          <ac:graphicFrameMkLst>
            <pc:docMk/>
            <pc:sldMk cId="2141724607" sldId="316"/>
            <ac:graphicFrameMk id="4" creationId="{43237F68-47A4-5090-4683-151DC393ED9E}"/>
          </ac:graphicFrameMkLst>
        </pc:graphicFrameChg>
      </pc:sldChg>
      <pc:sldChg chg="addSp delSp modSp mod chgLayout">
        <pc:chgData name="Arlette Simon" userId="f8e6e685-e2ee-4044-a307-57648a3e1d7f" providerId="ADAL" clId="{E743E4AA-11AD-4765-83A7-99ECEACBDB7B}" dt="2025-11-14T13:31:30.941" v="647" actId="15"/>
        <pc:sldMkLst>
          <pc:docMk/>
          <pc:sldMk cId="4021544365" sldId="317"/>
        </pc:sldMkLst>
        <pc:spChg chg="mod ord">
          <ac:chgData name="Arlette Simon" userId="f8e6e685-e2ee-4044-a307-57648a3e1d7f" providerId="ADAL" clId="{E743E4AA-11AD-4765-83A7-99ECEACBDB7B}" dt="2025-11-14T13:31:27.623" v="646" actId="6264"/>
          <ac:spMkLst>
            <pc:docMk/>
            <pc:sldMk cId="4021544365" sldId="317"/>
            <ac:spMk id="2" creationId="{E5919431-624E-EA99-FE0C-B9069F397D59}"/>
          </ac:spMkLst>
        </pc:spChg>
        <pc:spChg chg="mod ord">
          <ac:chgData name="Arlette Simon" userId="f8e6e685-e2ee-4044-a307-57648a3e1d7f" providerId="ADAL" clId="{E743E4AA-11AD-4765-83A7-99ECEACBDB7B}" dt="2025-11-14T13:31:30.941" v="647" actId="15"/>
          <ac:spMkLst>
            <pc:docMk/>
            <pc:sldMk cId="4021544365" sldId="317"/>
            <ac:spMk id="3" creationId="{39274109-B611-92CF-4D37-E784C9E69BAC}"/>
          </ac:spMkLst>
        </pc:spChg>
        <pc:spChg chg="add del mod">
          <ac:chgData name="Arlette Simon" userId="f8e6e685-e2ee-4044-a307-57648a3e1d7f" providerId="ADAL" clId="{E743E4AA-11AD-4765-83A7-99ECEACBDB7B}" dt="2025-11-14T13:31:27.623" v="646" actId="6264"/>
          <ac:spMkLst>
            <pc:docMk/>
            <pc:sldMk cId="4021544365" sldId="317"/>
            <ac:spMk id="4" creationId="{3F4FEF7D-96D1-C6B5-7895-4D4D52CF8F43}"/>
          </ac:spMkLst>
        </pc:spChg>
        <pc:spChg chg="add del mod">
          <ac:chgData name="Arlette Simon" userId="f8e6e685-e2ee-4044-a307-57648a3e1d7f" providerId="ADAL" clId="{E743E4AA-11AD-4765-83A7-99ECEACBDB7B}" dt="2025-11-14T13:31:27.623" v="646" actId="6264"/>
          <ac:spMkLst>
            <pc:docMk/>
            <pc:sldMk cId="4021544365" sldId="317"/>
            <ac:spMk id="5" creationId="{E396727D-2793-20C9-CDED-D1A77D5B2B94}"/>
          </ac:spMkLst>
        </pc:spChg>
      </pc:sldChg>
      <pc:sldChg chg="modSp mod">
        <pc:chgData name="Arlette Simon" userId="f8e6e685-e2ee-4044-a307-57648a3e1d7f" providerId="ADAL" clId="{E743E4AA-11AD-4765-83A7-99ECEACBDB7B}" dt="2025-11-14T14:56:29.377" v="1026" actId="14100"/>
        <pc:sldMkLst>
          <pc:docMk/>
          <pc:sldMk cId="267167958" sldId="318"/>
        </pc:sldMkLst>
        <pc:graphicFrameChg chg="mod modGraphic">
          <ac:chgData name="Arlette Simon" userId="f8e6e685-e2ee-4044-a307-57648a3e1d7f" providerId="ADAL" clId="{E743E4AA-11AD-4765-83A7-99ECEACBDB7B}" dt="2025-11-14T14:56:29.377" v="1026" actId="14100"/>
          <ac:graphicFrameMkLst>
            <pc:docMk/>
            <pc:sldMk cId="267167958" sldId="318"/>
            <ac:graphicFrameMk id="5" creationId="{974EDDBE-6156-4DE9-6FB8-C9B3AF0B299B}"/>
          </ac:graphicFrameMkLst>
        </pc:graphicFrameChg>
      </pc:sldChg>
      <pc:sldChg chg="modSp mod">
        <pc:chgData name="Arlette Simon" userId="f8e6e685-e2ee-4044-a307-57648a3e1d7f" providerId="ADAL" clId="{E743E4AA-11AD-4765-83A7-99ECEACBDB7B}" dt="2025-11-14T14:56:46.572" v="1027" actId="2062"/>
        <pc:sldMkLst>
          <pc:docMk/>
          <pc:sldMk cId="196045248" sldId="319"/>
        </pc:sldMkLst>
        <pc:graphicFrameChg chg="mod modGraphic">
          <ac:chgData name="Arlette Simon" userId="f8e6e685-e2ee-4044-a307-57648a3e1d7f" providerId="ADAL" clId="{E743E4AA-11AD-4765-83A7-99ECEACBDB7B}" dt="2025-11-14T14:56:46.572" v="1027" actId="2062"/>
          <ac:graphicFrameMkLst>
            <pc:docMk/>
            <pc:sldMk cId="196045248" sldId="319"/>
            <ac:graphicFrameMk id="4" creationId="{CE2FF3EB-E706-DE77-844C-E7972F24A6EB}"/>
          </ac:graphicFrameMkLst>
        </pc:graphicFrameChg>
      </pc:sldChg>
      <pc:sldChg chg="addSp delSp modSp mod chgLayout">
        <pc:chgData name="Arlette Simon" userId="f8e6e685-e2ee-4044-a307-57648a3e1d7f" providerId="ADAL" clId="{E743E4AA-11AD-4765-83A7-99ECEACBDB7B}" dt="2025-11-14T13:34:13.871" v="683" actId="114"/>
        <pc:sldMkLst>
          <pc:docMk/>
          <pc:sldMk cId="3345226596" sldId="320"/>
        </pc:sldMkLst>
        <pc:spChg chg="mod ord">
          <ac:chgData name="Arlette Simon" userId="f8e6e685-e2ee-4044-a307-57648a3e1d7f" providerId="ADAL" clId="{E743E4AA-11AD-4765-83A7-99ECEACBDB7B}" dt="2025-11-14T13:33:13.151" v="671" actId="6264"/>
          <ac:spMkLst>
            <pc:docMk/>
            <pc:sldMk cId="3345226596" sldId="320"/>
            <ac:spMk id="2" creationId="{A8ECBF1A-6DBA-5557-4524-D4E4A3907DF0}"/>
          </ac:spMkLst>
        </pc:spChg>
        <pc:spChg chg="mod ord">
          <ac:chgData name="Arlette Simon" userId="f8e6e685-e2ee-4044-a307-57648a3e1d7f" providerId="ADAL" clId="{E743E4AA-11AD-4765-83A7-99ECEACBDB7B}" dt="2025-11-14T13:34:13.871" v="683" actId="114"/>
          <ac:spMkLst>
            <pc:docMk/>
            <pc:sldMk cId="3345226596" sldId="320"/>
            <ac:spMk id="3" creationId="{D44947F2-B7DB-F3AE-F112-B0E724EA4683}"/>
          </ac:spMkLst>
        </pc:spChg>
        <pc:spChg chg="add del mod">
          <ac:chgData name="Arlette Simon" userId="f8e6e685-e2ee-4044-a307-57648a3e1d7f" providerId="ADAL" clId="{E743E4AA-11AD-4765-83A7-99ECEACBDB7B}" dt="2025-11-14T13:33:13.151" v="671" actId="6264"/>
          <ac:spMkLst>
            <pc:docMk/>
            <pc:sldMk cId="3345226596" sldId="320"/>
            <ac:spMk id="4" creationId="{1346EA6B-0793-5BC4-CDF7-C3C2F64EF549}"/>
          </ac:spMkLst>
        </pc:spChg>
        <pc:spChg chg="add del mod">
          <ac:chgData name="Arlette Simon" userId="f8e6e685-e2ee-4044-a307-57648a3e1d7f" providerId="ADAL" clId="{E743E4AA-11AD-4765-83A7-99ECEACBDB7B}" dt="2025-11-14T13:33:13.151" v="671" actId="6264"/>
          <ac:spMkLst>
            <pc:docMk/>
            <pc:sldMk cId="3345226596" sldId="320"/>
            <ac:spMk id="5" creationId="{F5357185-0633-30D2-6A10-5730809BAFC1}"/>
          </ac:spMkLst>
        </pc:spChg>
      </pc:sldChg>
      <pc:sldChg chg="addSp delSp modSp mod chgLayout">
        <pc:chgData name="Arlette Simon" userId="f8e6e685-e2ee-4044-a307-57648a3e1d7f" providerId="ADAL" clId="{E743E4AA-11AD-4765-83A7-99ECEACBDB7B}" dt="2025-11-14T13:34:34.243" v="686" actId="15"/>
        <pc:sldMkLst>
          <pc:docMk/>
          <pc:sldMk cId="439917032" sldId="321"/>
        </pc:sldMkLst>
        <pc:spChg chg="mod ord">
          <ac:chgData name="Arlette Simon" userId="f8e6e685-e2ee-4044-a307-57648a3e1d7f" providerId="ADAL" clId="{E743E4AA-11AD-4765-83A7-99ECEACBDB7B}" dt="2025-11-14T13:34:30.109" v="685" actId="6264"/>
          <ac:spMkLst>
            <pc:docMk/>
            <pc:sldMk cId="439917032" sldId="321"/>
            <ac:spMk id="2" creationId="{C7C2DF8F-1055-D5C9-6255-4A57216D81A2}"/>
          </ac:spMkLst>
        </pc:spChg>
        <pc:spChg chg="mod ord">
          <ac:chgData name="Arlette Simon" userId="f8e6e685-e2ee-4044-a307-57648a3e1d7f" providerId="ADAL" clId="{E743E4AA-11AD-4765-83A7-99ECEACBDB7B}" dt="2025-11-14T13:34:34.243" v="686" actId="15"/>
          <ac:spMkLst>
            <pc:docMk/>
            <pc:sldMk cId="439917032" sldId="321"/>
            <ac:spMk id="3" creationId="{7439C482-CA54-62DA-4A52-1AB527AFBA78}"/>
          </ac:spMkLst>
        </pc:spChg>
        <pc:spChg chg="add del mod">
          <ac:chgData name="Arlette Simon" userId="f8e6e685-e2ee-4044-a307-57648a3e1d7f" providerId="ADAL" clId="{E743E4AA-11AD-4765-83A7-99ECEACBDB7B}" dt="2025-11-14T13:34:30.109" v="685" actId="6264"/>
          <ac:spMkLst>
            <pc:docMk/>
            <pc:sldMk cId="439917032" sldId="321"/>
            <ac:spMk id="4" creationId="{2DF51AC8-07CE-43FD-E148-6AADF4FD6D4A}"/>
          </ac:spMkLst>
        </pc:spChg>
        <pc:spChg chg="add del mod">
          <ac:chgData name="Arlette Simon" userId="f8e6e685-e2ee-4044-a307-57648a3e1d7f" providerId="ADAL" clId="{E743E4AA-11AD-4765-83A7-99ECEACBDB7B}" dt="2025-11-14T13:34:30.109" v="685" actId="6264"/>
          <ac:spMkLst>
            <pc:docMk/>
            <pc:sldMk cId="439917032" sldId="321"/>
            <ac:spMk id="5" creationId="{E2314A86-47AD-7897-0AD8-B0E470348A5A}"/>
          </ac:spMkLst>
        </pc:spChg>
      </pc:sldChg>
      <pc:sldChg chg="addSp delSp modSp mod chgLayout">
        <pc:chgData name="Arlette Simon" userId="f8e6e685-e2ee-4044-a307-57648a3e1d7f" providerId="ADAL" clId="{E743E4AA-11AD-4765-83A7-99ECEACBDB7B}" dt="2025-11-14T13:34:44.004" v="688" actId="15"/>
        <pc:sldMkLst>
          <pc:docMk/>
          <pc:sldMk cId="4250207690" sldId="322"/>
        </pc:sldMkLst>
        <pc:spChg chg="mod ord">
          <ac:chgData name="Arlette Simon" userId="f8e6e685-e2ee-4044-a307-57648a3e1d7f" providerId="ADAL" clId="{E743E4AA-11AD-4765-83A7-99ECEACBDB7B}" dt="2025-11-14T13:34:40.723" v="687" actId="6264"/>
          <ac:spMkLst>
            <pc:docMk/>
            <pc:sldMk cId="4250207690" sldId="322"/>
            <ac:spMk id="2" creationId="{2F51DFB6-642C-8E6D-53A4-8570EAFB790A}"/>
          </ac:spMkLst>
        </pc:spChg>
        <pc:spChg chg="mod ord">
          <ac:chgData name="Arlette Simon" userId="f8e6e685-e2ee-4044-a307-57648a3e1d7f" providerId="ADAL" clId="{E743E4AA-11AD-4765-83A7-99ECEACBDB7B}" dt="2025-11-14T13:34:44.004" v="688" actId="15"/>
          <ac:spMkLst>
            <pc:docMk/>
            <pc:sldMk cId="4250207690" sldId="322"/>
            <ac:spMk id="3" creationId="{59223D9A-9233-2455-02A5-949688BBD295}"/>
          </ac:spMkLst>
        </pc:spChg>
        <pc:spChg chg="add del mod">
          <ac:chgData name="Arlette Simon" userId="f8e6e685-e2ee-4044-a307-57648a3e1d7f" providerId="ADAL" clId="{E743E4AA-11AD-4765-83A7-99ECEACBDB7B}" dt="2025-11-14T13:34:40.723" v="687" actId="6264"/>
          <ac:spMkLst>
            <pc:docMk/>
            <pc:sldMk cId="4250207690" sldId="322"/>
            <ac:spMk id="4" creationId="{67453B1D-45EC-0258-0B58-252FA22AF1EE}"/>
          </ac:spMkLst>
        </pc:spChg>
        <pc:spChg chg="add del mod">
          <ac:chgData name="Arlette Simon" userId="f8e6e685-e2ee-4044-a307-57648a3e1d7f" providerId="ADAL" clId="{E743E4AA-11AD-4765-83A7-99ECEACBDB7B}" dt="2025-11-14T13:34:40.723" v="687" actId="6264"/>
          <ac:spMkLst>
            <pc:docMk/>
            <pc:sldMk cId="4250207690" sldId="322"/>
            <ac:spMk id="5" creationId="{E799604E-8D49-AEF8-5710-43B9AA13F81F}"/>
          </ac:spMkLst>
        </pc:spChg>
      </pc:sldChg>
      <pc:sldChg chg="addSp delSp modSp mod">
        <pc:chgData name="Arlette Simon" userId="f8e6e685-e2ee-4044-a307-57648a3e1d7f" providerId="ADAL" clId="{E743E4AA-11AD-4765-83A7-99ECEACBDB7B}" dt="2025-11-14T14:57:44.330" v="1029" actId="207"/>
        <pc:sldMkLst>
          <pc:docMk/>
          <pc:sldMk cId="2818126171" sldId="323"/>
        </pc:sldMkLst>
        <pc:spChg chg="mod">
          <ac:chgData name="Arlette Simon" userId="f8e6e685-e2ee-4044-a307-57648a3e1d7f" providerId="ADAL" clId="{E743E4AA-11AD-4765-83A7-99ECEACBDB7B}" dt="2025-11-14T13:49:11.373" v="721" actId="552"/>
          <ac:spMkLst>
            <pc:docMk/>
            <pc:sldMk cId="2818126171" sldId="323"/>
            <ac:spMk id="2" creationId="{4FED49F6-7AAA-D6A6-6B63-7B045897B463}"/>
          </ac:spMkLst>
        </pc:spChg>
        <pc:spChg chg="mod">
          <ac:chgData name="Arlette Simon" userId="f8e6e685-e2ee-4044-a307-57648a3e1d7f" providerId="ADAL" clId="{E743E4AA-11AD-4765-83A7-99ECEACBDB7B}" dt="2025-11-14T14:57:44.330" v="1029" actId="207"/>
          <ac:spMkLst>
            <pc:docMk/>
            <pc:sldMk cId="2818126171" sldId="323"/>
            <ac:spMk id="3" creationId="{BD1FE8BD-3FA6-C47E-460B-351FD6CA6BD8}"/>
          </ac:spMkLst>
        </pc:spChg>
        <pc:graphicFrameChg chg="del mod">
          <ac:chgData name="Arlette Simon" userId="f8e6e685-e2ee-4044-a307-57648a3e1d7f" providerId="ADAL" clId="{E743E4AA-11AD-4765-83A7-99ECEACBDB7B}" dt="2025-11-14T13:48:03.718" v="694" actId="478"/>
          <ac:graphicFrameMkLst>
            <pc:docMk/>
            <pc:sldMk cId="2818126171" sldId="323"/>
            <ac:graphicFrameMk id="4" creationId="{FB7D0E4A-0D72-0F91-726C-11708B5D461A}"/>
          </ac:graphicFrameMkLst>
        </pc:graphicFrameChg>
        <pc:graphicFrameChg chg="add mod modGraphic">
          <ac:chgData name="Arlette Simon" userId="f8e6e685-e2ee-4044-a307-57648a3e1d7f" providerId="ADAL" clId="{E743E4AA-11AD-4765-83A7-99ECEACBDB7B}" dt="2025-11-14T14:57:39.687" v="1028" actId="207"/>
          <ac:graphicFrameMkLst>
            <pc:docMk/>
            <pc:sldMk cId="2818126171" sldId="323"/>
            <ac:graphicFrameMk id="5" creationId="{6E89BCEC-BC32-EF3E-386C-8288D546D606}"/>
          </ac:graphicFrameMkLst>
        </pc:graphicFrameChg>
      </pc:sldChg>
      <pc:sldChg chg="modSp mod">
        <pc:chgData name="Arlette Simon" userId="f8e6e685-e2ee-4044-a307-57648a3e1d7f" providerId="ADAL" clId="{E743E4AA-11AD-4765-83A7-99ECEACBDB7B}" dt="2025-11-14T13:49:25.715" v="722" actId="15"/>
        <pc:sldMkLst>
          <pc:docMk/>
          <pc:sldMk cId="3941645883" sldId="324"/>
        </pc:sldMkLst>
        <pc:spChg chg="mod">
          <ac:chgData name="Arlette Simon" userId="f8e6e685-e2ee-4044-a307-57648a3e1d7f" providerId="ADAL" clId="{E743E4AA-11AD-4765-83A7-99ECEACBDB7B}" dt="2025-11-14T13:49:25.715" v="722" actId="15"/>
          <ac:spMkLst>
            <pc:docMk/>
            <pc:sldMk cId="3941645883" sldId="324"/>
            <ac:spMk id="3" creationId="{C0CBF490-08FB-90FB-BC55-CB059BA0BC95}"/>
          </ac:spMkLst>
        </pc:spChg>
      </pc:sldChg>
      <pc:sldChg chg="modSp mod">
        <pc:chgData name="Arlette Simon" userId="f8e6e685-e2ee-4044-a307-57648a3e1d7f" providerId="ADAL" clId="{E743E4AA-11AD-4765-83A7-99ECEACBDB7B}" dt="2025-11-14T14:58:16.768" v="1031" actId="403"/>
        <pc:sldMkLst>
          <pc:docMk/>
          <pc:sldMk cId="2798317925" sldId="325"/>
        </pc:sldMkLst>
        <pc:graphicFrameChg chg="mod modGraphic">
          <ac:chgData name="Arlette Simon" userId="f8e6e685-e2ee-4044-a307-57648a3e1d7f" providerId="ADAL" clId="{E743E4AA-11AD-4765-83A7-99ECEACBDB7B}" dt="2025-11-14T14:58:16.768" v="1031" actId="403"/>
          <ac:graphicFrameMkLst>
            <pc:docMk/>
            <pc:sldMk cId="2798317925" sldId="325"/>
            <ac:graphicFrameMk id="4" creationId="{6BF65653-0947-E4CE-0E12-3357A62B64CD}"/>
          </ac:graphicFrameMkLst>
        </pc:graphicFrameChg>
      </pc:sldChg>
      <pc:sldChg chg="addSp delSp modSp mod chgLayout">
        <pc:chgData name="Arlette Simon" userId="f8e6e685-e2ee-4044-a307-57648a3e1d7f" providerId="ADAL" clId="{E743E4AA-11AD-4765-83A7-99ECEACBDB7B}" dt="2025-11-14T13:52:37.109" v="768" actId="57"/>
        <pc:sldMkLst>
          <pc:docMk/>
          <pc:sldMk cId="843474154" sldId="326"/>
        </pc:sldMkLst>
        <pc:spChg chg="mod ord">
          <ac:chgData name="Arlette Simon" userId="f8e6e685-e2ee-4044-a307-57648a3e1d7f" providerId="ADAL" clId="{E743E4AA-11AD-4765-83A7-99ECEACBDB7B}" dt="2025-11-14T13:51:54.712" v="750" actId="6264"/>
          <ac:spMkLst>
            <pc:docMk/>
            <pc:sldMk cId="843474154" sldId="326"/>
            <ac:spMk id="2" creationId="{CEDF4B34-AA91-8239-3A24-D1CE3FC68104}"/>
          </ac:spMkLst>
        </pc:spChg>
        <pc:spChg chg="mod ord">
          <ac:chgData name="Arlette Simon" userId="f8e6e685-e2ee-4044-a307-57648a3e1d7f" providerId="ADAL" clId="{E743E4AA-11AD-4765-83A7-99ECEACBDB7B}" dt="2025-11-14T13:52:37.109" v="768" actId="57"/>
          <ac:spMkLst>
            <pc:docMk/>
            <pc:sldMk cId="843474154" sldId="326"/>
            <ac:spMk id="3" creationId="{96E55EF2-124A-CECC-A41E-E9A2FE0A6378}"/>
          </ac:spMkLst>
        </pc:spChg>
        <pc:spChg chg="add del mod">
          <ac:chgData name="Arlette Simon" userId="f8e6e685-e2ee-4044-a307-57648a3e1d7f" providerId="ADAL" clId="{E743E4AA-11AD-4765-83A7-99ECEACBDB7B}" dt="2025-11-14T13:51:54.712" v="750" actId="6264"/>
          <ac:spMkLst>
            <pc:docMk/>
            <pc:sldMk cId="843474154" sldId="326"/>
            <ac:spMk id="4" creationId="{C560AC9F-98ED-2B2F-D502-BF8C77B41E0F}"/>
          </ac:spMkLst>
        </pc:spChg>
        <pc:spChg chg="add del mod">
          <ac:chgData name="Arlette Simon" userId="f8e6e685-e2ee-4044-a307-57648a3e1d7f" providerId="ADAL" clId="{E743E4AA-11AD-4765-83A7-99ECEACBDB7B}" dt="2025-11-14T13:51:54.712" v="750" actId="6264"/>
          <ac:spMkLst>
            <pc:docMk/>
            <pc:sldMk cId="843474154" sldId="326"/>
            <ac:spMk id="5" creationId="{6E9B06CE-8C92-996D-CB59-6E5E3876F730}"/>
          </ac:spMkLst>
        </pc:spChg>
      </pc:sldChg>
      <pc:sldChg chg="modSp mod">
        <pc:chgData name="Arlette Simon" userId="f8e6e685-e2ee-4044-a307-57648a3e1d7f" providerId="ADAL" clId="{E743E4AA-11AD-4765-83A7-99ECEACBDB7B}" dt="2025-11-14T13:53:02.966" v="769" actId="15"/>
        <pc:sldMkLst>
          <pc:docMk/>
          <pc:sldMk cId="4270055014" sldId="328"/>
        </pc:sldMkLst>
        <pc:spChg chg="mod">
          <ac:chgData name="Arlette Simon" userId="f8e6e685-e2ee-4044-a307-57648a3e1d7f" providerId="ADAL" clId="{E743E4AA-11AD-4765-83A7-99ECEACBDB7B}" dt="2025-11-14T13:53:02.966" v="769" actId="15"/>
          <ac:spMkLst>
            <pc:docMk/>
            <pc:sldMk cId="4270055014" sldId="328"/>
            <ac:spMk id="3" creationId="{E28DEF18-8035-8C6B-E8BE-D4E26C9EB7A0}"/>
          </ac:spMkLst>
        </pc:spChg>
      </pc:sldChg>
      <pc:sldChg chg="addSp delSp modSp mod chgLayout">
        <pc:chgData name="Arlette Simon" userId="f8e6e685-e2ee-4044-a307-57648a3e1d7f" providerId="ADAL" clId="{E743E4AA-11AD-4765-83A7-99ECEACBDB7B}" dt="2025-11-14T13:54:02.036" v="776" actId="20577"/>
        <pc:sldMkLst>
          <pc:docMk/>
          <pc:sldMk cId="1560775946" sldId="329"/>
        </pc:sldMkLst>
        <pc:spChg chg="mod ord">
          <ac:chgData name="Arlette Simon" userId="f8e6e685-e2ee-4044-a307-57648a3e1d7f" providerId="ADAL" clId="{E743E4AA-11AD-4765-83A7-99ECEACBDB7B}" dt="2025-11-14T13:54:02.036" v="776" actId="20577"/>
          <ac:spMkLst>
            <pc:docMk/>
            <pc:sldMk cId="1560775946" sldId="329"/>
            <ac:spMk id="2" creationId="{A18FB240-36F3-42FA-348C-BD14EB5067C9}"/>
          </ac:spMkLst>
        </pc:spChg>
        <pc:spChg chg="mod ord">
          <ac:chgData name="Arlette Simon" userId="f8e6e685-e2ee-4044-a307-57648a3e1d7f" providerId="ADAL" clId="{E743E4AA-11AD-4765-83A7-99ECEACBDB7B}" dt="2025-11-14T13:53:49.250" v="775" actId="179"/>
          <ac:spMkLst>
            <pc:docMk/>
            <pc:sldMk cId="1560775946" sldId="329"/>
            <ac:spMk id="3" creationId="{A97E16B2-83B9-64D5-7179-1922ED3E2997}"/>
          </ac:spMkLst>
        </pc:spChg>
        <pc:spChg chg="add del mod">
          <ac:chgData name="Arlette Simon" userId="f8e6e685-e2ee-4044-a307-57648a3e1d7f" providerId="ADAL" clId="{E743E4AA-11AD-4765-83A7-99ECEACBDB7B}" dt="2025-11-14T13:53:09.037" v="770" actId="6264"/>
          <ac:spMkLst>
            <pc:docMk/>
            <pc:sldMk cId="1560775946" sldId="329"/>
            <ac:spMk id="4" creationId="{02A0B86F-4F44-30CC-765B-524656A2A052}"/>
          </ac:spMkLst>
        </pc:spChg>
        <pc:spChg chg="add del mod">
          <ac:chgData name="Arlette Simon" userId="f8e6e685-e2ee-4044-a307-57648a3e1d7f" providerId="ADAL" clId="{E743E4AA-11AD-4765-83A7-99ECEACBDB7B}" dt="2025-11-14T13:53:09.037" v="770" actId="6264"/>
          <ac:spMkLst>
            <pc:docMk/>
            <pc:sldMk cId="1560775946" sldId="329"/>
            <ac:spMk id="5" creationId="{1A6200C3-38D1-361A-1348-C080D290449F}"/>
          </ac:spMkLst>
        </pc:spChg>
      </pc:sldChg>
      <pc:sldChg chg="addSp delSp modSp mod chgLayout">
        <pc:chgData name="Arlette Simon" userId="f8e6e685-e2ee-4044-a307-57648a3e1d7f" providerId="ADAL" clId="{E743E4AA-11AD-4765-83A7-99ECEACBDB7B}" dt="2025-11-14T13:55:02.315" v="782" actId="20577"/>
        <pc:sldMkLst>
          <pc:docMk/>
          <pc:sldMk cId="1024029281" sldId="330"/>
        </pc:sldMkLst>
        <pc:spChg chg="mod ord">
          <ac:chgData name="Arlette Simon" userId="f8e6e685-e2ee-4044-a307-57648a3e1d7f" providerId="ADAL" clId="{E743E4AA-11AD-4765-83A7-99ECEACBDB7B}" dt="2025-11-14T13:55:02.315" v="782" actId="20577"/>
          <ac:spMkLst>
            <pc:docMk/>
            <pc:sldMk cId="1024029281" sldId="330"/>
            <ac:spMk id="2" creationId="{DDB66F25-3459-BD04-0227-A706208448D2}"/>
          </ac:spMkLst>
        </pc:spChg>
        <pc:spChg chg="mod ord">
          <ac:chgData name="Arlette Simon" userId="f8e6e685-e2ee-4044-a307-57648a3e1d7f" providerId="ADAL" clId="{E743E4AA-11AD-4765-83A7-99ECEACBDB7B}" dt="2025-11-14T13:54:53.614" v="781" actId="15"/>
          <ac:spMkLst>
            <pc:docMk/>
            <pc:sldMk cId="1024029281" sldId="330"/>
            <ac:spMk id="3" creationId="{15093369-DD65-AAFD-BF05-239A85CCC34B}"/>
          </ac:spMkLst>
        </pc:spChg>
        <pc:spChg chg="add del mod">
          <ac:chgData name="Arlette Simon" userId="f8e6e685-e2ee-4044-a307-57648a3e1d7f" providerId="ADAL" clId="{E743E4AA-11AD-4765-83A7-99ECEACBDB7B}" dt="2025-11-14T13:54:37.900" v="777" actId="6264"/>
          <ac:spMkLst>
            <pc:docMk/>
            <pc:sldMk cId="1024029281" sldId="330"/>
            <ac:spMk id="4" creationId="{5BDBD416-E830-A51F-A623-201951B45DC8}"/>
          </ac:spMkLst>
        </pc:spChg>
        <pc:spChg chg="add del mod">
          <ac:chgData name="Arlette Simon" userId="f8e6e685-e2ee-4044-a307-57648a3e1d7f" providerId="ADAL" clId="{E743E4AA-11AD-4765-83A7-99ECEACBDB7B}" dt="2025-11-14T13:54:37.900" v="777" actId="6264"/>
          <ac:spMkLst>
            <pc:docMk/>
            <pc:sldMk cId="1024029281" sldId="330"/>
            <ac:spMk id="5" creationId="{895E066A-A0E7-F434-AF28-67F0281085BE}"/>
          </ac:spMkLst>
        </pc:spChg>
      </pc:sldChg>
      <pc:sldChg chg="addSp delSp modSp mod chgLayout">
        <pc:chgData name="Arlette Simon" userId="f8e6e685-e2ee-4044-a307-57648a3e1d7f" providerId="ADAL" clId="{E743E4AA-11AD-4765-83A7-99ECEACBDB7B}" dt="2025-11-14T13:55:54.841" v="793" actId="15"/>
        <pc:sldMkLst>
          <pc:docMk/>
          <pc:sldMk cId="449747758" sldId="331"/>
        </pc:sldMkLst>
        <pc:spChg chg="mod ord">
          <ac:chgData name="Arlette Simon" userId="f8e6e685-e2ee-4044-a307-57648a3e1d7f" providerId="ADAL" clId="{E743E4AA-11AD-4765-83A7-99ECEACBDB7B}" dt="2025-11-14T13:55:46.555" v="789" actId="20577"/>
          <ac:spMkLst>
            <pc:docMk/>
            <pc:sldMk cId="449747758" sldId="331"/>
            <ac:spMk id="2" creationId="{49163B65-97EC-9231-9FE6-F169F60F1869}"/>
          </ac:spMkLst>
        </pc:spChg>
        <pc:spChg chg="mod ord">
          <ac:chgData name="Arlette Simon" userId="f8e6e685-e2ee-4044-a307-57648a3e1d7f" providerId="ADAL" clId="{E743E4AA-11AD-4765-83A7-99ECEACBDB7B}" dt="2025-11-14T13:55:54.841" v="793" actId="15"/>
          <ac:spMkLst>
            <pc:docMk/>
            <pc:sldMk cId="449747758" sldId="331"/>
            <ac:spMk id="3" creationId="{C97DD2DD-05ED-A99D-5DCC-8773A6626F50}"/>
          </ac:spMkLst>
        </pc:spChg>
        <pc:spChg chg="add del mod">
          <ac:chgData name="Arlette Simon" userId="f8e6e685-e2ee-4044-a307-57648a3e1d7f" providerId="ADAL" clId="{E743E4AA-11AD-4765-83A7-99ECEACBDB7B}" dt="2025-11-14T13:55:44.354" v="788" actId="6264"/>
          <ac:spMkLst>
            <pc:docMk/>
            <pc:sldMk cId="449747758" sldId="331"/>
            <ac:spMk id="4" creationId="{2C9DDCC3-CE88-3D70-4230-9A9D7DA3C2C7}"/>
          </ac:spMkLst>
        </pc:spChg>
        <pc:spChg chg="add del mod">
          <ac:chgData name="Arlette Simon" userId="f8e6e685-e2ee-4044-a307-57648a3e1d7f" providerId="ADAL" clId="{E743E4AA-11AD-4765-83A7-99ECEACBDB7B}" dt="2025-11-14T13:55:44.354" v="788" actId="6264"/>
          <ac:spMkLst>
            <pc:docMk/>
            <pc:sldMk cId="449747758" sldId="331"/>
            <ac:spMk id="5" creationId="{D32BBDC2-8875-C15F-8634-6B3AC16032FC}"/>
          </ac:spMkLst>
        </pc:spChg>
      </pc:sldChg>
      <pc:sldChg chg="addSp delSp modSp mod chgLayout">
        <pc:chgData name="Arlette Simon" userId="f8e6e685-e2ee-4044-a307-57648a3e1d7f" providerId="ADAL" clId="{E743E4AA-11AD-4765-83A7-99ECEACBDB7B}" dt="2025-11-14T14:59:24.867" v="1045" actId="20577"/>
        <pc:sldMkLst>
          <pc:docMk/>
          <pc:sldMk cId="1975486361" sldId="332"/>
        </pc:sldMkLst>
        <pc:spChg chg="mod ord">
          <ac:chgData name="Arlette Simon" userId="f8e6e685-e2ee-4044-a307-57648a3e1d7f" providerId="ADAL" clId="{E743E4AA-11AD-4765-83A7-99ECEACBDB7B}" dt="2025-11-14T13:56:04.405" v="795" actId="20577"/>
          <ac:spMkLst>
            <pc:docMk/>
            <pc:sldMk cId="1975486361" sldId="332"/>
            <ac:spMk id="2" creationId="{CEE44B95-84A3-03E0-CECE-1DA1EB4389C1}"/>
          </ac:spMkLst>
        </pc:spChg>
        <pc:spChg chg="mod ord">
          <ac:chgData name="Arlette Simon" userId="f8e6e685-e2ee-4044-a307-57648a3e1d7f" providerId="ADAL" clId="{E743E4AA-11AD-4765-83A7-99ECEACBDB7B}" dt="2025-11-14T13:56:01.273" v="794" actId="6264"/>
          <ac:spMkLst>
            <pc:docMk/>
            <pc:sldMk cId="1975486361" sldId="332"/>
            <ac:spMk id="3" creationId="{2490C01F-5369-26EA-C3D8-95ABDCF9FEF5}"/>
          </ac:spMkLst>
        </pc:spChg>
        <pc:spChg chg="add del mod">
          <ac:chgData name="Arlette Simon" userId="f8e6e685-e2ee-4044-a307-57648a3e1d7f" providerId="ADAL" clId="{E743E4AA-11AD-4765-83A7-99ECEACBDB7B}" dt="2025-11-14T13:56:01.273" v="794" actId="6264"/>
          <ac:spMkLst>
            <pc:docMk/>
            <pc:sldMk cId="1975486361" sldId="332"/>
            <ac:spMk id="5" creationId="{DE81C292-C552-0933-B95A-2A75C8AC64FB}"/>
          </ac:spMkLst>
        </pc:spChg>
        <pc:spChg chg="add del mod">
          <ac:chgData name="Arlette Simon" userId="f8e6e685-e2ee-4044-a307-57648a3e1d7f" providerId="ADAL" clId="{E743E4AA-11AD-4765-83A7-99ECEACBDB7B}" dt="2025-11-14T13:56:01.273" v="794" actId="6264"/>
          <ac:spMkLst>
            <pc:docMk/>
            <pc:sldMk cId="1975486361" sldId="332"/>
            <ac:spMk id="7" creationId="{412DF5B9-B48A-DFE5-5B7A-79D67130D235}"/>
          </ac:spMkLst>
        </pc:spChg>
        <pc:graphicFrameChg chg="mod modGraphic">
          <ac:chgData name="Arlette Simon" userId="f8e6e685-e2ee-4044-a307-57648a3e1d7f" providerId="ADAL" clId="{E743E4AA-11AD-4765-83A7-99ECEACBDB7B}" dt="2025-11-14T14:59:24.867" v="1045" actId="20577"/>
          <ac:graphicFrameMkLst>
            <pc:docMk/>
            <pc:sldMk cId="1975486361" sldId="332"/>
            <ac:graphicFrameMk id="4" creationId="{FD2FC57C-51C8-C40D-8543-BAC11CABA9A6}"/>
          </ac:graphicFrameMkLst>
        </pc:graphicFrameChg>
        <pc:graphicFrameChg chg="mod modGraphic">
          <ac:chgData name="Arlette Simon" userId="f8e6e685-e2ee-4044-a307-57648a3e1d7f" providerId="ADAL" clId="{E743E4AA-11AD-4765-83A7-99ECEACBDB7B}" dt="2025-11-14T14:59:22.514" v="1044" actId="1036"/>
          <ac:graphicFrameMkLst>
            <pc:docMk/>
            <pc:sldMk cId="1975486361" sldId="332"/>
            <ac:graphicFrameMk id="6" creationId="{B58546E2-382D-1E1C-AD1B-A2021B814D9C}"/>
          </ac:graphicFrameMkLst>
        </pc:graphicFrameChg>
      </pc:sldChg>
      <pc:sldChg chg="addSp delSp modSp mod chgLayout">
        <pc:chgData name="Arlette Simon" userId="f8e6e685-e2ee-4044-a307-57648a3e1d7f" providerId="ADAL" clId="{E743E4AA-11AD-4765-83A7-99ECEACBDB7B}" dt="2025-11-14T14:01:41.565" v="878" actId="1036"/>
        <pc:sldMkLst>
          <pc:docMk/>
          <pc:sldMk cId="2346541544" sldId="333"/>
        </pc:sldMkLst>
        <pc:spChg chg="mod ord">
          <ac:chgData name="Arlette Simon" userId="f8e6e685-e2ee-4044-a307-57648a3e1d7f" providerId="ADAL" clId="{E743E4AA-11AD-4765-83A7-99ECEACBDB7B}" dt="2025-11-14T14:00:09.097" v="835" actId="6264"/>
          <ac:spMkLst>
            <pc:docMk/>
            <pc:sldMk cId="2346541544" sldId="333"/>
            <ac:spMk id="2" creationId="{F31643E9-5C99-930E-1936-DC18E1D49575}"/>
          </ac:spMkLst>
        </pc:spChg>
        <pc:spChg chg="mod ord">
          <ac:chgData name="Arlette Simon" userId="f8e6e685-e2ee-4044-a307-57648a3e1d7f" providerId="ADAL" clId="{E743E4AA-11AD-4765-83A7-99ECEACBDB7B}" dt="2025-11-14T14:00:09.097" v="835" actId="6264"/>
          <ac:spMkLst>
            <pc:docMk/>
            <pc:sldMk cId="2346541544" sldId="333"/>
            <ac:spMk id="3" creationId="{DF56FF9D-39A9-E7AF-4F17-81D26B4DF253}"/>
          </ac:spMkLst>
        </pc:spChg>
        <pc:spChg chg="add del mod">
          <ac:chgData name="Arlette Simon" userId="f8e6e685-e2ee-4044-a307-57648a3e1d7f" providerId="ADAL" clId="{E743E4AA-11AD-4765-83A7-99ECEACBDB7B}" dt="2025-11-14T14:00:09.097" v="835" actId="6264"/>
          <ac:spMkLst>
            <pc:docMk/>
            <pc:sldMk cId="2346541544" sldId="333"/>
            <ac:spMk id="5" creationId="{81DDFD8D-E92D-C15E-7882-A43224CD4A70}"/>
          </ac:spMkLst>
        </pc:spChg>
        <pc:spChg chg="add del mod">
          <ac:chgData name="Arlette Simon" userId="f8e6e685-e2ee-4044-a307-57648a3e1d7f" providerId="ADAL" clId="{E743E4AA-11AD-4765-83A7-99ECEACBDB7B}" dt="2025-11-14T14:00:09.097" v="835" actId="6264"/>
          <ac:spMkLst>
            <pc:docMk/>
            <pc:sldMk cId="2346541544" sldId="333"/>
            <ac:spMk id="6" creationId="{2D1E7E7D-CEEA-DFC1-5153-3943C263F026}"/>
          </ac:spMkLst>
        </pc:spChg>
        <pc:graphicFrameChg chg="mod modGraphic">
          <ac:chgData name="Arlette Simon" userId="f8e6e685-e2ee-4044-a307-57648a3e1d7f" providerId="ADAL" clId="{E743E4AA-11AD-4765-83A7-99ECEACBDB7B}" dt="2025-11-14T14:01:41.565" v="878" actId="1036"/>
          <ac:graphicFrameMkLst>
            <pc:docMk/>
            <pc:sldMk cId="2346541544" sldId="333"/>
            <ac:graphicFrameMk id="4" creationId="{DE8DE56B-F85E-5735-D701-774C335F3134}"/>
          </ac:graphicFrameMkLst>
        </pc:graphicFrameChg>
      </pc:sldChg>
      <pc:sldChg chg="addSp delSp modSp mod chgLayout">
        <pc:chgData name="Arlette Simon" userId="f8e6e685-e2ee-4044-a307-57648a3e1d7f" providerId="ADAL" clId="{E743E4AA-11AD-4765-83A7-99ECEACBDB7B}" dt="2025-11-14T14:02:40.368" v="895"/>
        <pc:sldMkLst>
          <pc:docMk/>
          <pc:sldMk cId="888947181" sldId="334"/>
        </pc:sldMkLst>
        <pc:spChg chg="mod ord">
          <ac:chgData name="Arlette Simon" userId="f8e6e685-e2ee-4044-a307-57648a3e1d7f" providerId="ADAL" clId="{E743E4AA-11AD-4765-83A7-99ECEACBDB7B}" dt="2025-11-14T14:01:48.178" v="879" actId="6264"/>
          <ac:spMkLst>
            <pc:docMk/>
            <pc:sldMk cId="888947181" sldId="334"/>
            <ac:spMk id="2" creationId="{7627807D-A2A8-61A4-6308-38CF990918D0}"/>
          </ac:spMkLst>
        </pc:spChg>
        <pc:spChg chg="mod ord">
          <ac:chgData name="Arlette Simon" userId="f8e6e685-e2ee-4044-a307-57648a3e1d7f" providerId="ADAL" clId="{E743E4AA-11AD-4765-83A7-99ECEACBDB7B}" dt="2025-11-14T14:01:48.178" v="879" actId="6264"/>
          <ac:spMkLst>
            <pc:docMk/>
            <pc:sldMk cId="888947181" sldId="334"/>
            <ac:spMk id="3" creationId="{F0CB53C0-0409-2763-A342-5E90FE0288E0}"/>
          </ac:spMkLst>
        </pc:spChg>
        <pc:spChg chg="add del mod">
          <ac:chgData name="Arlette Simon" userId="f8e6e685-e2ee-4044-a307-57648a3e1d7f" providerId="ADAL" clId="{E743E4AA-11AD-4765-83A7-99ECEACBDB7B}" dt="2025-11-14T14:01:48.178" v="879" actId="6264"/>
          <ac:spMkLst>
            <pc:docMk/>
            <pc:sldMk cId="888947181" sldId="334"/>
            <ac:spMk id="5" creationId="{061FC70C-5620-DE51-9C98-E165C7F2F1A2}"/>
          </ac:spMkLst>
        </pc:spChg>
        <pc:spChg chg="add del mod">
          <ac:chgData name="Arlette Simon" userId="f8e6e685-e2ee-4044-a307-57648a3e1d7f" providerId="ADAL" clId="{E743E4AA-11AD-4765-83A7-99ECEACBDB7B}" dt="2025-11-14T14:01:48.178" v="879" actId="6264"/>
          <ac:spMkLst>
            <pc:docMk/>
            <pc:sldMk cId="888947181" sldId="334"/>
            <ac:spMk id="6" creationId="{1C233F5D-0DD7-8F19-8B47-515F14EBFC91}"/>
          </ac:spMkLst>
        </pc:spChg>
        <pc:graphicFrameChg chg="mod modGraphic">
          <ac:chgData name="Arlette Simon" userId="f8e6e685-e2ee-4044-a307-57648a3e1d7f" providerId="ADAL" clId="{E743E4AA-11AD-4765-83A7-99ECEACBDB7B}" dt="2025-11-14T14:02:40.368" v="895"/>
          <ac:graphicFrameMkLst>
            <pc:docMk/>
            <pc:sldMk cId="888947181" sldId="334"/>
            <ac:graphicFrameMk id="4" creationId="{825EEBA9-736A-5885-B670-60C6DF51C4B3}"/>
          </ac:graphicFrameMkLst>
        </pc:graphicFrameChg>
      </pc:sldChg>
      <pc:sldChg chg="addSp delSp modSp mod chgLayout">
        <pc:chgData name="Arlette Simon" userId="f8e6e685-e2ee-4044-a307-57648a3e1d7f" providerId="ADAL" clId="{E743E4AA-11AD-4765-83A7-99ECEACBDB7B}" dt="2025-11-14T14:03:37.812" v="901"/>
        <pc:sldMkLst>
          <pc:docMk/>
          <pc:sldMk cId="3324587899" sldId="335"/>
        </pc:sldMkLst>
        <pc:spChg chg="mod ord">
          <ac:chgData name="Arlette Simon" userId="f8e6e685-e2ee-4044-a307-57648a3e1d7f" providerId="ADAL" clId="{E743E4AA-11AD-4765-83A7-99ECEACBDB7B}" dt="2025-11-14T14:03:07.818" v="896" actId="6264"/>
          <ac:spMkLst>
            <pc:docMk/>
            <pc:sldMk cId="3324587899" sldId="335"/>
            <ac:spMk id="2" creationId="{05A1BFCC-8845-3B93-D000-4B44238C4BDD}"/>
          </ac:spMkLst>
        </pc:spChg>
        <pc:spChg chg="mod ord">
          <ac:chgData name="Arlette Simon" userId="f8e6e685-e2ee-4044-a307-57648a3e1d7f" providerId="ADAL" clId="{E743E4AA-11AD-4765-83A7-99ECEACBDB7B}" dt="2025-11-14T14:03:37.812" v="901"/>
          <ac:spMkLst>
            <pc:docMk/>
            <pc:sldMk cId="3324587899" sldId="335"/>
            <ac:spMk id="3" creationId="{14ACC5DB-470C-4A34-4EBE-FC4BC375B826}"/>
          </ac:spMkLst>
        </pc:spChg>
        <pc:spChg chg="add del mod">
          <ac:chgData name="Arlette Simon" userId="f8e6e685-e2ee-4044-a307-57648a3e1d7f" providerId="ADAL" clId="{E743E4AA-11AD-4765-83A7-99ECEACBDB7B}" dt="2025-11-14T14:03:07.818" v="896" actId="6264"/>
          <ac:spMkLst>
            <pc:docMk/>
            <pc:sldMk cId="3324587899" sldId="335"/>
            <ac:spMk id="4" creationId="{34488553-935B-3068-113C-7C72BF176A6D}"/>
          </ac:spMkLst>
        </pc:spChg>
        <pc:spChg chg="add del mod">
          <ac:chgData name="Arlette Simon" userId="f8e6e685-e2ee-4044-a307-57648a3e1d7f" providerId="ADAL" clId="{E743E4AA-11AD-4765-83A7-99ECEACBDB7B}" dt="2025-11-14T14:03:07.818" v="896" actId="6264"/>
          <ac:spMkLst>
            <pc:docMk/>
            <pc:sldMk cId="3324587899" sldId="335"/>
            <ac:spMk id="5" creationId="{74CFFB2F-6169-681A-8861-24FF15BC86AC}"/>
          </ac:spMkLst>
        </pc:spChg>
      </pc:sldChg>
      <pc:sldChg chg="addSp delSp modSp mod chgLayout">
        <pc:chgData name="Arlette Simon" userId="f8e6e685-e2ee-4044-a307-57648a3e1d7f" providerId="ADAL" clId="{E743E4AA-11AD-4765-83A7-99ECEACBDB7B}" dt="2025-11-14T14:03:51.001" v="903" actId="15"/>
        <pc:sldMkLst>
          <pc:docMk/>
          <pc:sldMk cId="1280339701" sldId="336"/>
        </pc:sldMkLst>
        <pc:spChg chg="mod ord">
          <ac:chgData name="Arlette Simon" userId="f8e6e685-e2ee-4044-a307-57648a3e1d7f" providerId="ADAL" clId="{E743E4AA-11AD-4765-83A7-99ECEACBDB7B}" dt="2025-11-14T14:03:46.728" v="902" actId="6264"/>
          <ac:spMkLst>
            <pc:docMk/>
            <pc:sldMk cId="1280339701" sldId="336"/>
            <ac:spMk id="2" creationId="{E3158D8A-421A-6712-79C9-05BA8A310667}"/>
          </ac:spMkLst>
        </pc:spChg>
        <pc:spChg chg="mod ord">
          <ac:chgData name="Arlette Simon" userId="f8e6e685-e2ee-4044-a307-57648a3e1d7f" providerId="ADAL" clId="{E743E4AA-11AD-4765-83A7-99ECEACBDB7B}" dt="2025-11-14T14:03:51.001" v="903" actId="15"/>
          <ac:spMkLst>
            <pc:docMk/>
            <pc:sldMk cId="1280339701" sldId="336"/>
            <ac:spMk id="3" creationId="{1E918934-1B4B-0AF7-5138-ED7491CDDB44}"/>
          </ac:spMkLst>
        </pc:spChg>
        <pc:spChg chg="add del mod">
          <ac:chgData name="Arlette Simon" userId="f8e6e685-e2ee-4044-a307-57648a3e1d7f" providerId="ADAL" clId="{E743E4AA-11AD-4765-83A7-99ECEACBDB7B}" dt="2025-11-14T14:03:46.728" v="902" actId="6264"/>
          <ac:spMkLst>
            <pc:docMk/>
            <pc:sldMk cId="1280339701" sldId="336"/>
            <ac:spMk id="4" creationId="{E3D0D90C-CAFE-F686-D8C9-14374841CBF3}"/>
          </ac:spMkLst>
        </pc:spChg>
        <pc:spChg chg="add del mod">
          <ac:chgData name="Arlette Simon" userId="f8e6e685-e2ee-4044-a307-57648a3e1d7f" providerId="ADAL" clId="{E743E4AA-11AD-4765-83A7-99ECEACBDB7B}" dt="2025-11-14T14:03:46.728" v="902" actId="6264"/>
          <ac:spMkLst>
            <pc:docMk/>
            <pc:sldMk cId="1280339701" sldId="336"/>
            <ac:spMk id="5" creationId="{F118F499-2F28-8F3D-C532-73ADC0874C2A}"/>
          </ac:spMkLst>
        </pc:spChg>
      </pc:sldChg>
      <pc:sldChg chg="addSp delSp modSp mod chgLayout">
        <pc:chgData name="Arlette Simon" userId="f8e6e685-e2ee-4044-a307-57648a3e1d7f" providerId="ADAL" clId="{E743E4AA-11AD-4765-83A7-99ECEACBDB7B}" dt="2025-11-14T14:05:43.606" v="943" actId="114"/>
        <pc:sldMkLst>
          <pc:docMk/>
          <pc:sldMk cId="630746251" sldId="337"/>
        </pc:sldMkLst>
        <pc:spChg chg="mod ord">
          <ac:chgData name="Arlette Simon" userId="f8e6e685-e2ee-4044-a307-57648a3e1d7f" providerId="ADAL" clId="{E743E4AA-11AD-4765-83A7-99ECEACBDB7B}" dt="2025-11-14T14:03:57.780" v="904" actId="6264"/>
          <ac:spMkLst>
            <pc:docMk/>
            <pc:sldMk cId="630746251" sldId="337"/>
            <ac:spMk id="2" creationId="{30DB491C-6849-3AC4-2A3C-E66CDD6CFE1A}"/>
          </ac:spMkLst>
        </pc:spChg>
        <pc:spChg chg="mod ord">
          <ac:chgData name="Arlette Simon" userId="f8e6e685-e2ee-4044-a307-57648a3e1d7f" providerId="ADAL" clId="{E743E4AA-11AD-4765-83A7-99ECEACBDB7B}" dt="2025-11-14T14:05:36.156" v="942" actId="1035"/>
          <ac:spMkLst>
            <pc:docMk/>
            <pc:sldMk cId="630746251" sldId="337"/>
            <ac:spMk id="3" creationId="{DB2F97CE-4E3E-E44D-514D-80288FB020FA}"/>
          </ac:spMkLst>
        </pc:spChg>
        <pc:spChg chg="add del mod">
          <ac:chgData name="Arlette Simon" userId="f8e6e685-e2ee-4044-a307-57648a3e1d7f" providerId="ADAL" clId="{E743E4AA-11AD-4765-83A7-99ECEACBDB7B}" dt="2025-11-14T14:03:57.780" v="904" actId="6264"/>
          <ac:spMkLst>
            <pc:docMk/>
            <pc:sldMk cId="630746251" sldId="337"/>
            <ac:spMk id="5" creationId="{8A41BAAD-C7E3-A27C-A421-7C84DB3CF831}"/>
          </ac:spMkLst>
        </pc:spChg>
        <pc:spChg chg="add del mod">
          <ac:chgData name="Arlette Simon" userId="f8e6e685-e2ee-4044-a307-57648a3e1d7f" providerId="ADAL" clId="{E743E4AA-11AD-4765-83A7-99ECEACBDB7B}" dt="2025-11-14T14:03:57.780" v="904" actId="6264"/>
          <ac:spMkLst>
            <pc:docMk/>
            <pc:sldMk cId="630746251" sldId="337"/>
            <ac:spMk id="6" creationId="{F0E68AD2-7559-EFF7-B3A5-8CA1360D5D9B}"/>
          </ac:spMkLst>
        </pc:spChg>
        <pc:graphicFrameChg chg="mod modGraphic">
          <ac:chgData name="Arlette Simon" userId="f8e6e685-e2ee-4044-a307-57648a3e1d7f" providerId="ADAL" clId="{E743E4AA-11AD-4765-83A7-99ECEACBDB7B}" dt="2025-11-14T14:05:43.606" v="943" actId="114"/>
          <ac:graphicFrameMkLst>
            <pc:docMk/>
            <pc:sldMk cId="630746251" sldId="337"/>
            <ac:graphicFrameMk id="4" creationId="{9DCB5EE5-34D5-0882-34E0-388067C8E4CB}"/>
          </ac:graphicFrameMkLst>
        </pc:graphicFrameChg>
      </pc:sldChg>
      <pc:sldChg chg="addSp delSp modSp mod chgLayout">
        <pc:chgData name="Arlette Simon" userId="f8e6e685-e2ee-4044-a307-57648a3e1d7f" providerId="ADAL" clId="{E743E4AA-11AD-4765-83A7-99ECEACBDB7B}" dt="2025-11-14T15:00:07.228" v="1048" actId="14100"/>
        <pc:sldMkLst>
          <pc:docMk/>
          <pc:sldMk cId="586467756" sldId="338"/>
        </pc:sldMkLst>
        <pc:spChg chg="mod ord">
          <ac:chgData name="Arlette Simon" userId="f8e6e685-e2ee-4044-a307-57648a3e1d7f" providerId="ADAL" clId="{E743E4AA-11AD-4765-83A7-99ECEACBDB7B}" dt="2025-11-14T14:05:49.080" v="944" actId="6264"/>
          <ac:spMkLst>
            <pc:docMk/>
            <pc:sldMk cId="586467756" sldId="338"/>
            <ac:spMk id="2" creationId="{2FE055B2-C843-7D7D-6716-75CA741A413B}"/>
          </ac:spMkLst>
        </pc:spChg>
        <pc:spChg chg="add del mod">
          <ac:chgData name="Arlette Simon" userId="f8e6e685-e2ee-4044-a307-57648a3e1d7f" providerId="ADAL" clId="{E743E4AA-11AD-4765-83A7-99ECEACBDB7B}" dt="2025-11-14T14:05:49.080" v="944" actId="6264"/>
          <ac:spMkLst>
            <pc:docMk/>
            <pc:sldMk cId="586467756" sldId="338"/>
            <ac:spMk id="3" creationId="{80ADE21B-EE6E-D0FB-2424-8C4CB3A01A72}"/>
          </ac:spMkLst>
        </pc:spChg>
        <pc:spChg chg="add del mod">
          <ac:chgData name="Arlette Simon" userId="f8e6e685-e2ee-4044-a307-57648a3e1d7f" providerId="ADAL" clId="{E743E4AA-11AD-4765-83A7-99ECEACBDB7B}" dt="2025-11-14T14:05:49.080" v="944" actId="6264"/>
          <ac:spMkLst>
            <pc:docMk/>
            <pc:sldMk cId="586467756" sldId="338"/>
            <ac:spMk id="4" creationId="{4C93549C-D14F-01C0-C511-C82EA9BFE90A}"/>
          </ac:spMkLst>
        </pc:spChg>
        <pc:graphicFrameChg chg="mod ord modGraphic">
          <ac:chgData name="Arlette Simon" userId="f8e6e685-e2ee-4044-a307-57648a3e1d7f" providerId="ADAL" clId="{E743E4AA-11AD-4765-83A7-99ECEACBDB7B}" dt="2025-11-14T15:00:07.228" v="1048" actId="14100"/>
          <ac:graphicFrameMkLst>
            <pc:docMk/>
            <pc:sldMk cId="586467756" sldId="338"/>
            <ac:graphicFrameMk id="5" creationId="{57534514-25F8-5FC2-841A-D06079B5886F}"/>
          </ac:graphicFrameMkLst>
        </pc:graphicFrameChg>
      </pc:sldChg>
      <pc:sldChg chg="addSp delSp modSp mod chgLayout">
        <pc:chgData name="Arlette Simon" userId="f8e6e685-e2ee-4044-a307-57648a3e1d7f" providerId="ADAL" clId="{E743E4AA-11AD-4765-83A7-99ECEACBDB7B}" dt="2025-11-14T09:14:08.981" v="2" actId="6264"/>
        <pc:sldMkLst>
          <pc:docMk/>
          <pc:sldMk cId="3052446765" sldId="340"/>
        </pc:sldMkLst>
        <pc:spChg chg="mod ord">
          <ac:chgData name="Arlette Simon" userId="f8e6e685-e2ee-4044-a307-57648a3e1d7f" providerId="ADAL" clId="{E743E4AA-11AD-4765-83A7-99ECEACBDB7B}" dt="2025-11-14T09:14:08.981" v="2" actId="6264"/>
          <ac:spMkLst>
            <pc:docMk/>
            <pc:sldMk cId="3052446765" sldId="340"/>
            <ac:spMk id="2" creationId="{E9E28A20-A312-AA75-6B4F-002546128BF0}"/>
          </ac:spMkLst>
        </pc:spChg>
        <pc:spChg chg="add del mod">
          <ac:chgData name="Arlette Simon" userId="f8e6e685-e2ee-4044-a307-57648a3e1d7f" providerId="ADAL" clId="{E743E4AA-11AD-4765-83A7-99ECEACBDB7B}" dt="2025-11-14T09:14:08.981" v="2" actId="6264"/>
          <ac:spMkLst>
            <pc:docMk/>
            <pc:sldMk cId="3052446765" sldId="340"/>
            <ac:spMk id="3" creationId="{AE3D6C38-DE9A-36D2-8642-2BA34A0CD63C}"/>
          </ac:spMkLst>
        </pc:spChg>
      </pc:sldChg>
      <pc:sldChg chg="modSp mod">
        <pc:chgData name="Arlette Simon" userId="f8e6e685-e2ee-4044-a307-57648a3e1d7f" providerId="ADAL" clId="{E743E4AA-11AD-4765-83A7-99ECEACBDB7B}" dt="2025-11-14T09:13:45.939" v="0" actId="14100"/>
        <pc:sldMkLst>
          <pc:docMk/>
          <pc:sldMk cId="3669649995" sldId="341"/>
        </pc:sldMkLst>
        <pc:spChg chg="mod">
          <ac:chgData name="Arlette Simon" userId="f8e6e685-e2ee-4044-a307-57648a3e1d7f" providerId="ADAL" clId="{E743E4AA-11AD-4765-83A7-99ECEACBDB7B}" dt="2025-11-14T09:13:45.939" v="0" actId="14100"/>
          <ac:spMkLst>
            <pc:docMk/>
            <pc:sldMk cId="3669649995" sldId="341"/>
            <ac:spMk id="2" creationId="{8AD22DAE-FA65-51EC-1006-31BBD944253B}"/>
          </ac:spMkLst>
        </pc:spChg>
      </pc:sldChg>
      <pc:sldMasterChg chg="modSldLayout">
        <pc:chgData name="Arlette Simon" userId="f8e6e685-e2ee-4044-a307-57648a3e1d7f" providerId="ADAL" clId="{E743E4AA-11AD-4765-83A7-99ECEACBDB7B}" dt="2025-11-14T09:13:56.730" v="1" actId="14100"/>
        <pc:sldMasterMkLst>
          <pc:docMk/>
          <pc:sldMasterMk cId="3790004679" sldId="2147483648"/>
        </pc:sldMasterMkLst>
        <pc:sldLayoutChg chg="modSp mod">
          <pc:chgData name="Arlette Simon" userId="f8e6e685-e2ee-4044-a307-57648a3e1d7f" providerId="ADAL" clId="{E743E4AA-11AD-4765-83A7-99ECEACBDB7B}" dt="2025-11-14T09:13:56.730" v="1" actId="14100"/>
          <pc:sldLayoutMkLst>
            <pc:docMk/>
            <pc:sldMasterMk cId="3790004679" sldId="2147483648"/>
            <pc:sldLayoutMk cId="3330073230" sldId="2147483649"/>
          </pc:sldLayoutMkLst>
          <pc:spChg chg="mod">
            <ac:chgData name="Arlette Simon" userId="f8e6e685-e2ee-4044-a307-57648a3e1d7f" providerId="ADAL" clId="{E743E4AA-11AD-4765-83A7-99ECEACBDB7B}" dt="2025-11-14T09:13:56.730" v="1" actId="14100"/>
            <ac:spMkLst>
              <pc:docMk/>
              <pc:sldMasterMk cId="3790004679" sldId="2147483648"/>
              <pc:sldLayoutMk cId="3330073230" sldId="2147483649"/>
              <ac:spMk id="2" creationId="{492E0C69-8499-4075-66A2-AFD3D0451387}"/>
            </ac:spMkLst>
          </pc:spChg>
          <pc:spChg chg="mod">
            <ac:chgData name="Arlette Simon" userId="f8e6e685-e2ee-4044-a307-57648a3e1d7f" providerId="ADAL" clId="{E743E4AA-11AD-4765-83A7-99ECEACBDB7B}" dt="2025-11-14T09:13:56.730" v="1" actId="14100"/>
            <ac:spMkLst>
              <pc:docMk/>
              <pc:sldMasterMk cId="3790004679" sldId="2147483648"/>
              <pc:sldLayoutMk cId="3330073230" sldId="2147483649"/>
              <ac:spMk id="3" creationId="{E2A4A518-DAE8-9CB5-9DB8-C3F32813749C}"/>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4/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D885523A-25F9-4C99-8774-62F4A68F5D34}" type="slidenum">
              <a:rPr lang="fr-FR" smtClean="0"/>
              <a:t>31</a:t>
            </a:fld>
            <a:endParaRPr lang="fr-FR"/>
          </a:p>
        </p:txBody>
      </p:sp>
    </p:spTree>
    <p:extLst>
      <p:ext uri="{BB962C8B-B14F-4D97-AF65-F5344CB8AC3E}">
        <p14:creationId xmlns:p14="http://schemas.microsoft.com/office/powerpoint/2010/main" val="13370268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6270730"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6270730"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4/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s>
</file>

<file path=ppt/slides/_rels/slide30.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themia.pro/"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themia.pro/" TargetMode="External"/><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themia.pro/" TargetMode="External"/><Relationship Id="rId1" Type="http://schemas.openxmlformats.org/officeDocument/2006/relationships/slideLayout" Target="../slideLayouts/slideLayout6.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themia.pro/" TargetMode="External"/><Relationship Id="rId1" Type="http://schemas.openxmlformats.org/officeDocument/2006/relationships/slideLayout" Target="../slideLayouts/slideLayout6.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themia.pro/" TargetMode="External"/><Relationship Id="rId1" Type="http://schemas.openxmlformats.org/officeDocument/2006/relationships/slideLayout" Target="../slideLayouts/slideLayout6.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themia.pro/" TargetMode="External"/><Relationship Id="rId1" Type="http://schemas.openxmlformats.org/officeDocument/2006/relationships/slideLayout" Target="../slideLayouts/slideLayout6.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4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4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fondation-richard.com/" TargetMode="External"/><Relationship Id="rId1" Type="http://schemas.openxmlformats.org/officeDocument/2006/relationships/slideLayout" Target="../slideLayouts/slideLayout3.xml"/><Relationship Id="rId4" Type="http://schemas.openxmlformats.org/officeDocument/2006/relationships/image" Target="cid:image002.png@01DB7BAA.E26E5560" TargetMode="Externa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5" y="2013630"/>
            <a:ext cx="6361042" cy="1522137"/>
          </a:xfrm>
        </p:spPr>
        <p:txBody>
          <a:bodyPr/>
          <a:lstStyle/>
          <a:p>
            <a:pPr>
              <a:lnSpc>
                <a:spcPct val="100000"/>
              </a:lnSpc>
            </a:pPr>
            <a:r>
              <a:rPr lang="fr-FR" sz="2800" cap="all" dirty="0"/>
              <a:t>ATELIER 6 : </a:t>
            </a:r>
            <a:br>
              <a:rPr lang="fr-FR" sz="2800" cap="all" dirty="0"/>
            </a:br>
            <a:br>
              <a:rPr lang="fr-FR" sz="2800" cap="all" dirty="0"/>
            </a:br>
            <a:r>
              <a:rPr lang="fr-FR" sz="2800" cap="all" dirty="0"/>
              <a:t>Préjudices </a:t>
            </a:r>
            <a:r>
              <a:rPr lang="fr-FR" sz="2800" cap="all" dirty="0" err="1"/>
              <a:t>extRa-patrimoniaux</a:t>
            </a:r>
            <a:br>
              <a:rPr lang="fr-FR" sz="2800" cap="all" dirty="0"/>
            </a:br>
            <a:br>
              <a:rPr lang="fr-FR" sz="2800" cap="all" dirty="0"/>
            </a:br>
            <a:r>
              <a:rPr lang="fr-FR" sz="2800" cap="all" dirty="0"/>
              <a:t>hors déficit fonctionnel</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5" y="4083301"/>
            <a:ext cx="5339255" cy="1655762"/>
          </a:xfrm>
        </p:spPr>
        <p:txBody>
          <a:bodyPr/>
          <a:lstStyle/>
          <a:p>
            <a:pPr algn="l"/>
            <a:r>
              <a:rPr lang="fr-FR" dirty="0"/>
              <a:t>Nomenclature Dintilhac,</a:t>
            </a:r>
          </a:p>
          <a:p>
            <a:pPr algn="l"/>
            <a:r>
              <a:rPr lang="fr-FR" dirty="0"/>
              <a:t>20 ans après, entre hier et demain</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4B3E31-4285-F815-A053-611ADC2DB72C}"/>
              </a:ext>
            </a:extLst>
          </p:cNvPr>
          <p:cNvSpPr>
            <a:spLocks noGrp="1"/>
          </p:cNvSpPr>
          <p:nvPr>
            <p:ph type="title"/>
          </p:nvPr>
        </p:nvSpPr>
        <p:spPr>
          <a:xfrm>
            <a:off x="838200" y="365126"/>
            <a:ext cx="9321800" cy="919221"/>
          </a:xfrm>
        </p:spPr>
        <p:txBody>
          <a:bodyPr/>
          <a:lstStyle/>
          <a:p>
            <a:r>
              <a:rPr lang="fr-FR" dirty="0"/>
              <a:t>Cass., </a:t>
            </a:r>
            <a:r>
              <a:rPr lang="fr-FR" dirty="0" err="1"/>
              <a:t>Civ</a:t>
            </a:r>
            <a:r>
              <a:rPr lang="fr-FR" dirty="0"/>
              <a:t> 1., 24 septembre 2025, n°24-11.414</a:t>
            </a:r>
          </a:p>
        </p:txBody>
      </p:sp>
      <p:sp>
        <p:nvSpPr>
          <p:cNvPr id="7" name="Rectangle: Rounded Corners 6">
            <a:extLst>
              <a:ext uri="{FF2B5EF4-FFF2-40B4-BE49-F238E27FC236}">
                <a16:creationId xmlns:a16="http://schemas.microsoft.com/office/drawing/2014/main" id="{2E8D8A09-1D7D-9BA4-EED9-BE35154195FD}"/>
              </a:ext>
            </a:extLst>
          </p:cNvPr>
          <p:cNvSpPr/>
          <p:nvPr/>
        </p:nvSpPr>
        <p:spPr>
          <a:xfrm>
            <a:off x="838200" y="1307543"/>
            <a:ext cx="10515600" cy="1502332"/>
          </a:xfrm>
          <a:prstGeom prst="roundRect">
            <a:avLst/>
          </a:prstGeom>
          <a:ln>
            <a:solidFill>
              <a:schemeClr val="accent2"/>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7993" tIns="127993" rIns="127993" bIns="127993" numCol="1" spcCol="1270" anchor="t" anchorCtr="0">
            <a:noAutofit/>
          </a:bodyPr>
          <a:lstStyle/>
          <a:p>
            <a:pPr marL="0" lvl="0" indent="0" algn="l" defTabSz="1066800">
              <a:lnSpc>
                <a:spcPct val="90000"/>
              </a:lnSpc>
              <a:spcBef>
                <a:spcPct val="0"/>
              </a:spcBef>
              <a:spcAft>
                <a:spcPct val="35000"/>
              </a:spcAft>
              <a:buNone/>
            </a:pPr>
            <a:r>
              <a:rPr lang="fr-FR" sz="2400" b="1" kern="1200" dirty="0"/>
              <a:t>Faits</a:t>
            </a:r>
            <a:r>
              <a:rPr lang="fr-FR" sz="2400" kern="1200" dirty="0"/>
              <a:t> : </a:t>
            </a:r>
          </a:p>
        </p:txBody>
      </p:sp>
      <p:sp>
        <p:nvSpPr>
          <p:cNvPr id="8" name="Freeform: Shape 7">
            <a:extLst>
              <a:ext uri="{FF2B5EF4-FFF2-40B4-BE49-F238E27FC236}">
                <a16:creationId xmlns:a16="http://schemas.microsoft.com/office/drawing/2014/main" id="{9E6347D9-A211-15B7-B2C8-C18343349FF9}"/>
              </a:ext>
            </a:extLst>
          </p:cNvPr>
          <p:cNvSpPr/>
          <p:nvPr/>
        </p:nvSpPr>
        <p:spPr>
          <a:xfrm>
            <a:off x="838200" y="1942043"/>
            <a:ext cx="10515600" cy="890100"/>
          </a:xfrm>
          <a:custGeom>
            <a:avLst/>
            <a:gdLst>
              <a:gd name="connsiteX0" fmla="*/ 0 w 10515600"/>
              <a:gd name="connsiteY0" fmla="*/ 0 h 890100"/>
              <a:gd name="connsiteX1" fmla="*/ 10515600 w 10515600"/>
              <a:gd name="connsiteY1" fmla="*/ 0 h 890100"/>
              <a:gd name="connsiteX2" fmla="*/ 10515600 w 10515600"/>
              <a:gd name="connsiteY2" fmla="*/ 890100 h 890100"/>
              <a:gd name="connsiteX3" fmla="*/ 0 w 10515600"/>
              <a:gd name="connsiteY3" fmla="*/ 890100 h 890100"/>
              <a:gd name="connsiteX4" fmla="*/ 0 w 10515600"/>
              <a:gd name="connsiteY4" fmla="*/ 0 h 89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5600" h="890100">
                <a:moveTo>
                  <a:pt x="0" y="0"/>
                </a:moveTo>
                <a:lnTo>
                  <a:pt x="10515600" y="0"/>
                </a:lnTo>
                <a:lnTo>
                  <a:pt x="10515600" y="890100"/>
                </a:lnTo>
                <a:lnTo>
                  <a:pt x="0" y="8901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3870" tIns="22860" rIns="128016" bIns="22860" numCol="1" spcCol="1270" anchor="t" anchorCtr="0">
            <a:noAutofit/>
          </a:bodyPr>
          <a:lstStyle/>
          <a:p>
            <a:pPr marL="171450" lvl="1" indent="-171450" algn="just" defTabSz="800100">
              <a:lnSpc>
                <a:spcPct val="90000"/>
              </a:lnSpc>
              <a:spcBef>
                <a:spcPct val="0"/>
              </a:spcBef>
              <a:spcAft>
                <a:spcPct val="20000"/>
              </a:spcAft>
              <a:buClr>
                <a:schemeClr val="bg2"/>
              </a:buClr>
              <a:buChar char="•"/>
            </a:pPr>
            <a:r>
              <a:rPr lang="fr-FR" sz="1800" kern="1200" dirty="0"/>
              <a:t>La patiente a présenté des troubles d'élocution et de phonation ainsi que des problèmes de mastication à la suite de la pose d'implants et d'une prothèse dentaire fixe en 1995-1996, persistant jusqu'à la pose d'une nouvelle prothèse en 2008.</a:t>
            </a:r>
          </a:p>
        </p:txBody>
      </p:sp>
      <p:sp>
        <p:nvSpPr>
          <p:cNvPr id="9" name="Rectangle: Rounded Corners 8">
            <a:extLst>
              <a:ext uri="{FF2B5EF4-FFF2-40B4-BE49-F238E27FC236}">
                <a16:creationId xmlns:a16="http://schemas.microsoft.com/office/drawing/2014/main" id="{CABA83EE-8B11-9ECB-CC38-C2C5CC146A8B}"/>
              </a:ext>
            </a:extLst>
          </p:cNvPr>
          <p:cNvSpPr/>
          <p:nvPr/>
        </p:nvSpPr>
        <p:spPr>
          <a:xfrm>
            <a:off x="838200" y="2946443"/>
            <a:ext cx="10515600" cy="1501200"/>
          </a:xfrm>
          <a:prstGeom prst="roundRect">
            <a:avLst/>
          </a:prstGeom>
          <a:ln>
            <a:solidFill>
              <a:schemeClr val="accent2"/>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7993" tIns="127993" rIns="127993" bIns="127993" numCol="1" spcCol="1270" anchor="t" anchorCtr="0">
            <a:noAutofit/>
          </a:bodyPr>
          <a:lstStyle/>
          <a:p>
            <a:pPr marL="0" lvl="0" indent="0" algn="l" defTabSz="1066800">
              <a:lnSpc>
                <a:spcPct val="90000"/>
              </a:lnSpc>
              <a:spcBef>
                <a:spcPct val="0"/>
              </a:spcBef>
              <a:spcAft>
                <a:spcPct val="35000"/>
              </a:spcAft>
              <a:buNone/>
            </a:pPr>
            <a:r>
              <a:rPr lang="fr-FR" sz="2400" b="1" kern="1200" dirty="0"/>
              <a:t>Apport</a:t>
            </a:r>
            <a:r>
              <a:rPr lang="fr-FR" sz="2400" kern="1200" dirty="0"/>
              <a:t> : </a:t>
            </a:r>
          </a:p>
        </p:txBody>
      </p:sp>
      <p:sp>
        <p:nvSpPr>
          <p:cNvPr id="10" name="Freeform: Shape 9">
            <a:extLst>
              <a:ext uri="{FF2B5EF4-FFF2-40B4-BE49-F238E27FC236}">
                <a16:creationId xmlns:a16="http://schemas.microsoft.com/office/drawing/2014/main" id="{5C8E03E7-5BC8-FE3E-D57F-058FB6F7C54C}"/>
              </a:ext>
            </a:extLst>
          </p:cNvPr>
          <p:cNvSpPr/>
          <p:nvPr/>
        </p:nvSpPr>
        <p:spPr>
          <a:xfrm>
            <a:off x="838200" y="3580943"/>
            <a:ext cx="10515600" cy="890100"/>
          </a:xfrm>
          <a:custGeom>
            <a:avLst/>
            <a:gdLst>
              <a:gd name="connsiteX0" fmla="*/ 0 w 10515600"/>
              <a:gd name="connsiteY0" fmla="*/ 0 h 890100"/>
              <a:gd name="connsiteX1" fmla="*/ 10515600 w 10515600"/>
              <a:gd name="connsiteY1" fmla="*/ 0 h 890100"/>
              <a:gd name="connsiteX2" fmla="*/ 10515600 w 10515600"/>
              <a:gd name="connsiteY2" fmla="*/ 890100 h 890100"/>
              <a:gd name="connsiteX3" fmla="*/ 0 w 10515600"/>
              <a:gd name="connsiteY3" fmla="*/ 890100 h 890100"/>
              <a:gd name="connsiteX4" fmla="*/ 0 w 10515600"/>
              <a:gd name="connsiteY4" fmla="*/ 0 h 89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5600" h="890100">
                <a:moveTo>
                  <a:pt x="0" y="0"/>
                </a:moveTo>
                <a:lnTo>
                  <a:pt x="10515600" y="0"/>
                </a:lnTo>
                <a:lnTo>
                  <a:pt x="10515600" y="890100"/>
                </a:lnTo>
                <a:lnTo>
                  <a:pt x="0" y="8901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3870" tIns="22860" rIns="128016" bIns="22860" numCol="1" spcCol="1270" anchor="t" anchorCtr="0">
            <a:noAutofit/>
          </a:bodyPr>
          <a:lstStyle/>
          <a:p>
            <a:pPr marL="171450" lvl="1" indent="-171450" algn="just" defTabSz="800100">
              <a:lnSpc>
                <a:spcPct val="90000"/>
              </a:lnSpc>
              <a:spcBef>
                <a:spcPct val="0"/>
              </a:spcBef>
              <a:spcAft>
                <a:spcPct val="20000"/>
              </a:spcAft>
              <a:buClr>
                <a:schemeClr val="bg2"/>
              </a:buClr>
              <a:buChar char="•"/>
            </a:pPr>
            <a:r>
              <a:rPr lang="fr-FR" sz="1800" kern="1200" dirty="0"/>
              <a:t>« Il résulte de ce texte et de ce principe que le préjudice esthétique temporaire peut inclure des troubles de l'élocution contraignant la victime à se présenter dans un état physique altéré au regard des tiers, même si ces troubles caractérisent aussi une gêne fonctionnelle ». </a:t>
            </a:r>
          </a:p>
        </p:txBody>
      </p:sp>
      <p:sp>
        <p:nvSpPr>
          <p:cNvPr id="11" name="Rectangle: Rounded Corners 10">
            <a:extLst>
              <a:ext uri="{FF2B5EF4-FFF2-40B4-BE49-F238E27FC236}">
                <a16:creationId xmlns:a16="http://schemas.microsoft.com/office/drawing/2014/main" id="{080252E6-435D-D8A4-64E6-9977D09565A0}"/>
              </a:ext>
            </a:extLst>
          </p:cNvPr>
          <p:cNvSpPr/>
          <p:nvPr/>
        </p:nvSpPr>
        <p:spPr>
          <a:xfrm>
            <a:off x="838200" y="4585341"/>
            <a:ext cx="10515600" cy="1263009"/>
          </a:xfrm>
          <a:prstGeom prst="roundRect">
            <a:avLst/>
          </a:prstGeom>
          <a:ln>
            <a:solidFill>
              <a:schemeClr val="accent2"/>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7993" tIns="127993" rIns="127993" bIns="127993" numCol="1" spcCol="1270" anchor="t" anchorCtr="0">
            <a:noAutofit/>
          </a:bodyPr>
          <a:lstStyle/>
          <a:p>
            <a:pPr marL="0" lvl="0" indent="0" algn="l" defTabSz="1066800">
              <a:lnSpc>
                <a:spcPct val="90000"/>
              </a:lnSpc>
              <a:spcBef>
                <a:spcPct val="0"/>
              </a:spcBef>
              <a:spcAft>
                <a:spcPct val="35000"/>
              </a:spcAft>
              <a:buNone/>
            </a:pPr>
            <a:r>
              <a:rPr lang="fr-FR" sz="2400" kern="1200" dirty="0"/>
              <a:t>Précédent : </a:t>
            </a:r>
          </a:p>
        </p:txBody>
      </p:sp>
      <p:sp>
        <p:nvSpPr>
          <p:cNvPr id="12" name="Freeform: Shape 11">
            <a:extLst>
              <a:ext uri="{FF2B5EF4-FFF2-40B4-BE49-F238E27FC236}">
                <a16:creationId xmlns:a16="http://schemas.microsoft.com/office/drawing/2014/main" id="{20F6204F-8EB0-2419-647B-848A295F3F23}"/>
              </a:ext>
            </a:extLst>
          </p:cNvPr>
          <p:cNvSpPr/>
          <p:nvPr/>
        </p:nvSpPr>
        <p:spPr>
          <a:xfrm>
            <a:off x="838200" y="5334143"/>
            <a:ext cx="10515600" cy="662400"/>
          </a:xfrm>
          <a:custGeom>
            <a:avLst/>
            <a:gdLst>
              <a:gd name="connsiteX0" fmla="*/ 0 w 10515600"/>
              <a:gd name="connsiteY0" fmla="*/ 0 h 662400"/>
              <a:gd name="connsiteX1" fmla="*/ 10515600 w 10515600"/>
              <a:gd name="connsiteY1" fmla="*/ 0 h 662400"/>
              <a:gd name="connsiteX2" fmla="*/ 10515600 w 10515600"/>
              <a:gd name="connsiteY2" fmla="*/ 662400 h 662400"/>
              <a:gd name="connsiteX3" fmla="*/ 0 w 10515600"/>
              <a:gd name="connsiteY3" fmla="*/ 662400 h 662400"/>
              <a:gd name="connsiteX4" fmla="*/ 0 w 10515600"/>
              <a:gd name="connsiteY4" fmla="*/ 0 h 66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5600" h="662400">
                <a:moveTo>
                  <a:pt x="0" y="0"/>
                </a:moveTo>
                <a:lnTo>
                  <a:pt x="10515600" y="0"/>
                </a:lnTo>
                <a:lnTo>
                  <a:pt x="10515600" y="662400"/>
                </a:lnTo>
                <a:lnTo>
                  <a:pt x="0" y="66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3870" tIns="25400" rIns="142240" bIns="25400" numCol="1" spcCol="1270" anchor="t" anchorCtr="0">
            <a:noAutofit/>
          </a:bodyPr>
          <a:lstStyle/>
          <a:p>
            <a:pPr marL="228600" lvl="1" indent="-228600" algn="l" defTabSz="889000">
              <a:lnSpc>
                <a:spcPct val="90000"/>
              </a:lnSpc>
              <a:spcBef>
                <a:spcPct val="0"/>
              </a:spcBef>
              <a:spcAft>
                <a:spcPct val="20000"/>
              </a:spcAft>
              <a:buClr>
                <a:schemeClr val="bg2"/>
              </a:buClr>
              <a:buChar char="•"/>
            </a:pPr>
            <a:r>
              <a:rPr lang="fr-FR" kern="1200" dirty="0"/>
              <a:t>Cass. 2e civ., 22 nov. 2012, n° 11-25.661</a:t>
            </a:r>
          </a:p>
        </p:txBody>
      </p:sp>
    </p:spTree>
    <p:extLst>
      <p:ext uri="{BB962C8B-B14F-4D97-AF65-F5344CB8AC3E}">
        <p14:creationId xmlns:p14="http://schemas.microsoft.com/office/powerpoint/2010/main" val="1330495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10522-0B6E-9874-2701-867EA50F7CE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AE27170-03E6-DB72-2DEE-EACEF69C85FC}"/>
              </a:ext>
            </a:extLst>
          </p:cNvPr>
          <p:cNvSpPr>
            <a:spLocks noGrp="1"/>
          </p:cNvSpPr>
          <p:nvPr>
            <p:ph type="title"/>
          </p:nvPr>
        </p:nvSpPr>
        <p:spPr>
          <a:xfrm>
            <a:off x="838200" y="365126"/>
            <a:ext cx="9321800" cy="919221"/>
          </a:xfrm>
        </p:spPr>
        <p:txBody>
          <a:bodyPr/>
          <a:lstStyle/>
          <a:p>
            <a:r>
              <a:rPr lang="fr-FR" dirty="0"/>
              <a:t>Cass., </a:t>
            </a:r>
            <a:r>
              <a:rPr lang="fr-FR" dirty="0" err="1"/>
              <a:t>Civ</a:t>
            </a:r>
            <a:r>
              <a:rPr lang="fr-FR" dirty="0"/>
              <a:t> 2., 18 septembre 2025, n°23-21.571</a:t>
            </a:r>
          </a:p>
        </p:txBody>
      </p:sp>
      <p:sp>
        <p:nvSpPr>
          <p:cNvPr id="7" name="Content Placeholder 6">
            <a:extLst>
              <a:ext uri="{FF2B5EF4-FFF2-40B4-BE49-F238E27FC236}">
                <a16:creationId xmlns:a16="http://schemas.microsoft.com/office/drawing/2014/main" id="{361C0EB8-0F6F-8EE8-168B-84E6288A1339}"/>
              </a:ext>
            </a:extLst>
          </p:cNvPr>
          <p:cNvSpPr>
            <a:spLocks noGrp="1"/>
          </p:cNvSpPr>
          <p:nvPr>
            <p:ph idx="1"/>
          </p:nvPr>
        </p:nvSpPr>
        <p:spPr/>
        <p:txBody>
          <a:bodyPr/>
          <a:lstStyle/>
          <a:p>
            <a:r>
              <a:rPr lang="fr-FR" dirty="0"/>
              <a:t>Vu le principe de la réparation intégrale sans perte ni profit pour la victime :</a:t>
            </a:r>
            <a:br>
              <a:rPr lang="fr-FR" dirty="0"/>
            </a:br>
            <a:br>
              <a:rPr lang="fr-FR" dirty="0"/>
            </a:br>
            <a:r>
              <a:rPr lang="fr-FR" dirty="0"/>
              <a:t>11. Pour limiter le montant des dommages et intérêts alloués au titre du préjudice esthétique temporaire, l'arrêt retient que les interventions chirurgicales de 2013 et 2014 ayant entraîné notamment la pose de pansements justifiaient, indépendamment des cicatrices indemnisées dans le cadre du préjudice esthétique permanent, l'allocation d'une somme de 300 euros.</a:t>
            </a:r>
            <a:br>
              <a:rPr lang="fr-FR" dirty="0"/>
            </a:br>
            <a:br>
              <a:rPr lang="fr-FR" dirty="0"/>
            </a:br>
            <a:r>
              <a:rPr lang="fr-FR" dirty="0"/>
              <a:t>12. En statuant ainsi, alors que le préjudice esthétique temporaire est un préjudice distinct du préjudice esthétique permanent, la cour d'appel, qui a refusé de prendre un compte les cicatrices dont elle avait constaté l'existence avant la consolidation, a violé le principe susvisé.</a:t>
            </a:r>
          </a:p>
        </p:txBody>
      </p:sp>
    </p:spTree>
    <p:extLst>
      <p:ext uri="{BB962C8B-B14F-4D97-AF65-F5344CB8AC3E}">
        <p14:creationId xmlns:p14="http://schemas.microsoft.com/office/powerpoint/2010/main" val="373689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C1A0D-33CB-9980-61DB-B6ED102CA7B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4CF7AA0-61B8-34DD-F002-3630FAC9300E}"/>
              </a:ext>
            </a:extLst>
          </p:cNvPr>
          <p:cNvSpPr>
            <a:spLocks noGrp="1"/>
          </p:cNvSpPr>
          <p:nvPr>
            <p:ph type="ctrTitle"/>
          </p:nvPr>
        </p:nvSpPr>
        <p:spPr/>
        <p:txBody>
          <a:bodyPr/>
          <a:lstStyle/>
          <a:p>
            <a:r>
              <a:rPr lang="fr-FR" dirty="0"/>
              <a:t>Les questions indemnitaires</a:t>
            </a:r>
          </a:p>
        </p:txBody>
      </p:sp>
    </p:spTree>
    <p:extLst>
      <p:ext uri="{BB962C8B-B14F-4D97-AF65-F5344CB8AC3E}">
        <p14:creationId xmlns:p14="http://schemas.microsoft.com/office/powerpoint/2010/main" val="3349227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93F8E7-ECC3-B1AA-F7FE-500C7B6694A9}"/>
              </a:ext>
            </a:extLst>
          </p:cNvPr>
          <p:cNvSpPr>
            <a:spLocks noGrp="1"/>
          </p:cNvSpPr>
          <p:nvPr>
            <p:ph type="title"/>
          </p:nvPr>
        </p:nvSpPr>
        <p:spPr>
          <a:xfrm>
            <a:off x="838200" y="365126"/>
            <a:ext cx="9321800" cy="919221"/>
          </a:xfrm>
        </p:spPr>
        <p:txBody>
          <a:bodyPr/>
          <a:lstStyle/>
          <a:p>
            <a:r>
              <a:rPr lang="fr-FR" dirty="0"/>
              <a:t>Indemnisation du préjudice esthétique temporaire (2,5-3,5/7)</a:t>
            </a:r>
          </a:p>
        </p:txBody>
      </p:sp>
      <p:pic>
        <p:nvPicPr>
          <p:cNvPr id="5" name="Espace réservé du contenu 4">
            <a:extLst>
              <a:ext uri="{FF2B5EF4-FFF2-40B4-BE49-F238E27FC236}">
                <a16:creationId xmlns:a16="http://schemas.microsoft.com/office/drawing/2014/main" id="{AA805BE0-1D9D-DEFB-2686-12DCBF43B086}"/>
              </a:ext>
            </a:extLst>
          </p:cNvPr>
          <p:cNvPicPr>
            <a:picLocks noGrp="1" noChangeAspect="1"/>
          </p:cNvPicPr>
          <p:nvPr>
            <p:ph idx="1"/>
          </p:nvPr>
        </p:nvPicPr>
        <p:blipFill>
          <a:blip r:embed="rId2"/>
          <a:stretch>
            <a:fillRect/>
          </a:stretch>
        </p:blipFill>
        <p:spPr>
          <a:xfrm>
            <a:off x="238125" y="2169612"/>
            <a:ext cx="11715750" cy="3290300"/>
          </a:xfrm>
        </p:spPr>
      </p:pic>
      <p:sp>
        <p:nvSpPr>
          <p:cNvPr id="6" name="ZoneTexte 5">
            <a:extLst>
              <a:ext uri="{FF2B5EF4-FFF2-40B4-BE49-F238E27FC236}">
                <a16:creationId xmlns:a16="http://schemas.microsoft.com/office/drawing/2014/main" id="{22CB5579-E0C6-977E-693A-27FC1DC573DB}"/>
              </a:ext>
            </a:extLst>
          </p:cNvPr>
          <p:cNvSpPr txBox="1"/>
          <p:nvPr/>
        </p:nvSpPr>
        <p:spPr>
          <a:xfrm>
            <a:off x="3085496" y="6160511"/>
            <a:ext cx="6021007" cy="369332"/>
          </a:xfrm>
          <a:prstGeom prst="rect">
            <a:avLst/>
          </a:prstGeom>
          <a:noFill/>
        </p:spPr>
        <p:txBody>
          <a:bodyPr wrap="none" rtlCol="0">
            <a:spAutoFit/>
          </a:bodyPr>
          <a:lstStyle/>
          <a:p>
            <a:r>
              <a:rPr lang="fr-FR" dirty="0"/>
              <a:t>Données au 11/11/2025 et graphiques : </a:t>
            </a:r>
            <a:r>
              <a:rPr lang="fr-FR" dirty="0">
                <a:hlinkClick r:id="rId3"/>
              </a:rPr>
              <a:t>https://themia.pro/</a:t>
            </a:r>
            <a:r>
              <a:rPr lang="fr-FR" dirty="0"/>
              <a:t>  </a:t>
            </a:r>
          </a:p>
        </p:txBody>
      </p:sp>
    </p:spTree>
    <p:extLst>
      <p:ext uri="{BB962C8B-B14F-4D97-AF65-F5344CB8AC3E}">
        <p14:creationId xmlns:p14="http://schemas.microsoft.com/office/powerpoint/2010/main" val="1952375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94CCDF-B816-24EB-44C9-0AEA97BE8781}"/>
              </a:ext>
            </a:extLst>
          </p:cNvPr>
          <p:cNvSpPr>
            <a:spLocks noGrp="1"/>
          </p:cNvSpPr>
          <p:nvPr>
            <p:ph type="title"/>
          </p:nvPr>
        </p:nvSpPr>
        <p:spPr>
          <a:xfrm>
            <a:off x="838200" y="365126"/>
            <a:ext cx="9321800" cy="919221"/>
          </a:xfrm>
        </p:spPr>
        <p:txBody>
          <a:bodyPr/>
          <a:lstStyle/>
          <a:p>
            <a:r>
              <a:rPr lang="fr-FR" dirty="0"/>
              <a:t>Indemnisation du préjudice esthétique temporaire (2,5-3,5/7)</a:t>
            </a:r>
          </a:p>
        </p:txBody>
      </p:sp>
      <p:pic>
        <p:nvPicPr>
          <p:cNvPr id="5" name="Espace réservé du contenu 4">
            <a:extLst>
              <a:ext uri="{FF2B5EF4-FFF2-40B4-BE49-F238E27FC236}">
                <a16:creationId xmlns:a16="http://schemas.microsoft.com/office/drawing/2014/main" id="{DE49B09F-6620-DE2B-4525-8942B0F7F1CF}"/>
              </a:ext>
            </a:extLst>
          </p:cNvPr>
          <p:cNvPicPr>
            <a:picLocks noGrp="1" noChangeAspect="1"/>
          </p:cNvPicPr>
          <p:nvPr>
            <p:ph idx="1"/>
          </p:nvPr>
        </p:nvPicPr>
        <p:blipFill>
          <a:blip r:embed="rId2"/>
          <a:stretch>
            <a:fillRect/>
          </a:stretch>
        </p:blipFill>
        <p:spPr>
          <a:xfrm>
            <a:off x="997993" y="1494393"/>
            <a:ext cx="10508207" cy="4309508"/>
          </a:xfrm>
        </p:spPr>
      </p:pic>
      <p:sp>
        <p:nvSpPr>
          <p:cNvPr id="6" name="ZoneTexte 5">
            <a:extLst>
              <a:ext uri="{FF2B5EF4-FFF2-40B4-BE49-F238E27FC236}">
                <a16:creationId xmlns:a16="http://schemas.microsoft.com/office/drawing/2014/main" id="{1DA6BC2F-89A1-902C-B97A-D440A6AD8197}"/>
              </a:ext>
            </a:extLst>
          </p:cNvPr>
          <p:cNvSpPr txBox="1"/>
          <p:nvPr/>
        </p:nvSpPr>
        <p:spPr>
          <a:xfrm>
            <a:off x="3055679" y="6345178"/>
            <a:ext cx="3490058" cy="261610"/>
          </a:xfrm>
          <a:prstGeom prst="rect">
            <a:avLst/>
          </a:prstGeom>
          <a:noFill/>
        </p:spPr>
        <p:txBody>
          <a:bodyPr wrap="none" rtlCol="0">
            <a:spAutoFit/>
          </a:bodyPr>
          <a:lstStyle/>
          <a:p>
            <a:r>
              <a:rPr lang="fr-FR" sz="1100" dirty="0"/>
              <a:t>Données au 11/11/2025 et tableau : </a:t>
            </a:r>
            <a:r>
              <a:rPr lang="fr-FR" sz="1100" dirty="0">
                <a:hlinkClick r:id="rId3"/>
              </a:rPr>
              <a:t>https://themia.pro/</a:t>
            </a:r>
            <a:r>
              <a:rPr lang="fr-FR" sz="1100" dirty="0"/>
              <a:t>  </a:t>
            </a:r>
          </a:p>
        </p:txBody>
      </p:sp>
    </p:spTree>
    <p:extLst>
      <p:ext uri="{BB962C8B-B14F-4D97-AF65-F5344CB8AC3E}">
        <p14:creationId xmlns:p14="http://schemas.microsoft.com/office/powerpoint/2010/main" val="1896704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137A4B-FD8F-3911-A51F-FD8925E35A40}"/>
              </a:ext>
            </a:extLst>
          </p:cNvPr>
          <p:cNvSpPr>
            <a:spLocks noGrp="1"/>
          </p:cNvSpPr>
          <p:nvPr>
            <p:ph type="title"/>
          </p:nvPr>
        </p:nvSpPr>
        <p:spPr/>
        <p:txBody>
          <a:bodyPr/>
          <a:lstStyle/>
          <a:p>
            <a:r>
              <a:rPr lang="fr-FR" dirty="0"/>
              <a:t>Indemnisation du préjudice esthétique temporaire</a:t>
            </a:r>
          </a:p>
        </p:txBody>
      </p:sp>
      <p:pic>
        <p:nvPicPr>
          <p:cNvPr id="5" name="Espace réservé du contenu 4">
            <a:extLst>
              <a:ext uri="{FF2B5EF4-FFF2-40B4-BE49-F238E27FC236}">
                <a16:creationId xmlns:a16="http://schemas.microsoft.com/office/drawing/2014/main" id="{931B954E-6D2D-9E71-EFA4-301F31DDAA8E}"/>
              </a:ext>
            </a:extLst>
          </p:cNvPr>
          <p:cNvPicPr>
            <a:picLocks noGrp="1" noChangeAspect="1"/>
          </p:cNvPicPr>
          <p:nvPr>
            <p:ph idx="1"/>
          </p:nvPr>
        </p:nvPicPr>
        <p:blipFill>
          <a:blip r:embed="rId2"/>
          <a:stretch>
            <a:fillRect/>
          </a:stretch>
        </p:blipFill>
        <p:spPr>
          <a:xfrm>
            <a:off x="942366" y="1270889"/>
            <a:ext cx="10459059" cy="4533012"/>
          </a:xfrm>
          <a:prstGeom prst="rect">
            <a:avLst/>
          </a:prstGeom>
        </p:spPr>
      </p:pic>
      <p:sp>
        <p:nvSpPr>
          <p:cNvPr id="6" name="ZoneTexte 5">
            <a:extLst>
              <a:ext uri="{FF2B5EF4-FFF2-40B4-BE49-F238E27FC236}">
                <a16:creationId xmlns:a16="http://schemas.microsoft.com/office/drawing/2014/main" id="{8327F307-584F-28E4-E15B-BF36F218B4EB}"/>
              </a:ext>
            </a:extLst>
          </p:cNvPr>
          <p:cNvSpPr txBox="1"/>
          <p:nvPr/>
        </p:nvSpPr>
        <p:spPr>
          <a:xfrm>
            <a:off x="3055679" y="6345178"/>
            <a:ext cx="3490058" cy="261610"/>
          </a:xfrm>
          <a:prstGeom prst="rect">
            <a:avLst/>
          </a:prstGeom>
          <a:noFill/>
        </p:spPr>
        <p:txBody>
          <a:bodyPr wrap="none" rtlCol="0">
            <a:spAutoFit/>
          </a:bodyPr>
          <a:lstStyle/>
          <a:p>
            <a:r>
              <a:rPr lang="fr-FR" sz="1100" dirty="0"/>
              <a:t>Données au 11/11/2025 et tableau : </a:t>
            </a:r>
            <a:r>
              <a:rPr lang="fr-FR" sz="1100" dirty="0">
                <a:hlinkClick r:id="rId3"/>
              </a:rPr>
              <a:t>https://themia.pro/</a:t>
            </a:r>
            <a:r>
              <a:rPr lang="fr-FR" sz="1100" dirty="0"/>
              <a:t>  </a:t>
            </a:r>
          </a:p>
        </p:txBody>
      </p:sp>
    </p:spTree>
    <p:extLst>
      <p:ext uri="{BB962C8B-B14F-4D97-AF65-F5344CB8AC3E}">
        <p14:creationId xmlns:p14="http://schemas.microsoft.com/office/powerpoint/2010/main" val="23866597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7F38BD-8893-319A-A542-0033C7F92B07}"/>
              </a:ext>
            </a:extLst>
          </p:cNvPr>
          <p:cNvSpPr>
            <a:spLocks noGrp="1"/>
          </p:cNvSpPr>
          <p:nvPr>
            <p:ph type="title"/>
          </p:nvPr>
        </p:nvSpPr>
        <p:spPr>
          <a:xfrm>
            <a:off x="838200" y="365126"/>
            <a:ext cx="9321800" cy="919221"/>
          </a:xfrm>
        </p:spPr>
        <p:txBody>
          <a:bodyPr/>
          <a:lstStyle/>
          <a:p>
            <a:r>
              <a:rPr lang="fr-FR" dirty="0"/>
              <a:t>De </a:t>
            </a:r>
            <a:r>
              <a:rPr lang="fr-FR" dirty="0" err="1"/>
              <a:t>erroribus</a:t>
            </a:r>
            <a:r>
              <a:rPr lang="fr-FR" dirty="0"/>
              <a:t> </a:t>
            </a:r>
            <a:r>
              <a:rPr lang="fr-FR" dirty="0" err="1"/>
              <a:t>pragmaticorum</a:t>
            </a:r>
            <a:endParaRPr lang="fr-FR" dirty="0"/>
          </a:p>
        </p:txBody>
      </p:sp>
      <p:sp>
        <p:nvSpPr>
          <p:cNvPr id="3" name="Espace réservé du contenu 2">
            <a:extLst>
              <a:ext uri="{FF2B5EF4-FFF2-40B4-BE49-F238E27FC236}">
                <a16:creationId xmlns:a16="http://schemas.microsoft.com/office/drawing/2014/main" id="{FE17BD77-BA1D-F1B2-0E0D-1BD05D5216E4}"/>
              </a:ext>
            </a:extLst>
          </p:cNvPr>
          <p:cNvSpPr>
            <a:spLocks noGrp="1"/>
          </p:cNvSpPr>
          <p:nvPr>
            <p:ph idx="1"/>
          </p:nvPr>
        </p:nvSpPr>
        <p:spPr>
          <a:xfrm>
            <a:off x="838199" y="1111250"/>
            <a:ext cx="10925175" cy="3978275"/>
          </a:xfrm>
        </p:spPr>
        <p:txBody>
          <a:bodyPr/>
          <a:lstStyle/>
          <a:p>
            <a:r>
              <a:rPr lang="pt-BR" dirty="0"/>
              <a:t>TJ Lille, TASS, 28 novembre 2024, n° 16/02743 (amputation 2 bras suite arc électrique)</a:t>
            </a:r>
          </a:p>
          <a:p>
            <a:r>
              <a:rPr lang="fr-FR" dirty="0"/>
              <a:t>b) Le préjudice esthétique : L'expert indique en son rapport : " Préjudice esthétique : - Amputation des deux membres supérieurs au tiers huméral bilatéralement - Handicap acquis évidemment immédiatement </a:t>
            </a:r>
            <a:r>
              <a:rPr lang="fr-FR" dirty="0" err="1"/>
              <a:t>discerable</a:t>
            </a:r>
            <a:r>
              <a:rPr lang="fr-FR" dirty="0"/>
              <a:t> aux conditions du regard social. Le préjudice esthétique temporaire est évalué au SIXIÈME [Localité 26] sur l'échelle à sept degrés et le préjudice esthétique permanent est également évalué au SIXIÈME [Localité 26] sur l'échelle à sept degrés. " </a:t>
            </a:r>
            <a:br>
              <a:rPr lang="fr-FR" dirty="0"/>
            </a:br>
            <a:br>
              <a:rPr lang="fr-FR" dirty="0"/>
            </a:br>
            <a:r>
              <a:rPr lang="fr-FR" dirty="0"/>
              <a:t>M. [X] [T] sollicite une indemnisation à hauteur de </a:t>
            </a:r>
            <a:r>
              <a:rPr lang="fr-FR" b="1" dirty="0"/>
              <a:t>150 000 € </a:t>
            </a:r>
            <a:r>
              <a:rPr lang="fr-FR" dirty="0"/>
              <a:t>pour le préjudice esthétique temporaire et 300 000 € pour le préjudice esthétique permanent. </a:t>
            </a:r>
            <a:br>
              <a:rPr lang="fr-FR" dirty="0"/>
            </a:br>
            <a:br>
              <a:rPr lang="fr-FR" dirty="0"/>
            </a:br>
            <a:r>
              <a:rPr lang="fr-FR" dirty="0"/>
              <a:t>La société [29] conteste le principe même d'un préjudice esthétique temporaire, au motif que celui-ci se confond avec le préjudice esthétique permanent ce qui est d'ailleurs illustré par la quantification au même degré des deux postes. Sur ce, le tribunal considère que la distinction du poste de préjudice esthétique temporaire et permanent trouve son fondement dans le fait que la victime pendant le temps de la consolidation peut subir un préjudice esthétique bien différent de ce qu'il sera à partir de la consolidation, de sorte qu'il convient de les distinguer ; d'ailleurs une note de doctrine versée par M. [X] [T] énonce " la notion de dégressivité vers la cotation du préjudice esthétique permanent est l'essence même de ce préjudice ". Or, en l'espèce l'expert ne distingue pas les deux préjudices qu'il évalue d'ailleurs au même degré. Il convient donc d'indemniser M. [X] [T] du poste de préjudice esthétique (temporaire et permanent) par l'allocation de la somme de 50 000 euros. </a:t>
            </a:r>
          </a:p>
        </p:txBody>
      </p:sp>
    </p:spTree>
    <p:extLst>
      <p:ext uri="{BB962C8B-B14F-4D97-AF65-F5344CB8AC3E}">
        <p14:creationId xmlns:p14="http://schemas.microsoft.com/office/powerpoint/2010/main" val="3002531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DA62B-6E21-1E1D-4EEB-9A806C6327E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3707CAF-13F0-32DA-D66E-C128599D2B8B}"/>
              </a:ext>
            </a:extLst>
          </p:cNvPr>
          <p:cNvSpPr>
            <a:spLocks noGrp="1"/>
          </p:cNvSpPr>
          <p:nvPr>
            <p:ph type="title"/>
          </p:nvPr>
        </p:nvSpPr>
        <p:spPr/>
        <p:txBody>
          <a:bodyPr/>
          <a:lstStyle/>
          <a:p>
            <a:r>
              <a:rPr lang="fr-FR" dirty="0"/>
              <a:t>Indemnisation du préjudice d’agrément</a:t>
            </a:r>
          </a:p>
        </p:txBody>
      </p:sp>
      <p:pic>
        <p:nvPicPr>
          <p:cNvPr id="9" name="Image 8">
            <a:extLst>
              <a:ext uri="{FF2B5EF4-FFF2-40B4-BE49-F238E27FC236}">
                <a16:creationId xmlns:a16="http://schemas.microsoft.com/office/drawing/2014/main" id="{430C9D40-18A5-E083-850F-6EE90B93ED14}"/>
              </a:ext>
            </a:extLst>
          </p:cNvPr>
          <p:cNvPicPr>
            <a:picLocks noChangeAspect="1"/>
          </p:cNvPicPr>
          <p:nvPr/>
        </p:nvPicPr>
        <p:blipFill>
          <a:blip r:embed="rId2"/>
          <a:stretch>
            <a:fillRect/>
          </a:stretch>
        </p:blipFill>
        <p:spPr>
          <a:xfrm>
            <a:off x="89649" y="1871445"/>
            <a:ext cx="12012701" cy="3115110"/>
          </a:xfrm>
          <a:prstGeom prst="rect">
            <a:avLst/>
          </a:prstGeom>
        </p:spPr>
      </p:pic>
      <p:sp>
        <p:nvSpPr>
          <p:cNvPr id="10" name="ZoneTexte 9">
            <a:extLst>
              <a:ext uri="{FF2B5EF4-FFF2-40B4-BE49-F238E27FC236}">
                <a16:creationId xmlns:a16="http://schemas.microsoft.com/office/drawing/2014/main" id="{3722ACD9-2BF7-B7EE-5D2B-E3D8AA373896}"/>
              </a:ext>
            </a:extLst>
          </p:cNvPr>
          <p:cNvSpPr txBox="1"/>
          <p:nvPr/>
        </p:nvSpPr>
        <p:spPr>
          <a:xfrm>
            <a:off x="3085496" y="6160511"/>
            <a:ext cx="6021007" cy="369332"/>
          </a:xfrm>
          <a:prstGeom prst="rect">
            <a:avLst/>
          </a:prstGeom>
          <a:noFill/>
        </p:spPr>
        <p:txBody>
          <a:bodyPr wrap="none" rtlCol="0">
            <a:spAutoFit/>
          </a:bodyPr>
          <a:lstStyle/>
          <a:p>
            <a:r>
              <a:rPr lang="fr-FR" dirty="0"/>
              <a:t>Données au 11/11/2025 et graphiques : </a:t>
            </a:r>
            <a:r>
              <a:rPr lang="fr-FR" dirty="0">
                <a:hlinkClick r:id="rId3"/>
              </a:rPr>
              <a:t>https://themia.pro/</a:t>
            </a:r>
            <a:r>
              <a:rPr lang="fr-FR" dirty="0"/>
              <a:t>  </a:t>
            </a:r>
          </a:p>
        </p:txBody>
      </p:sp>
    </p:spTree>
    <p:extLst>
      <p:ext uri="{BB962C8B-B14F-4D97-AF65-F5344CB8AC3E}">
        <p14:creationId xmlns:p14="http://schemas.microsoft.com/office/powerpoint/2010/main" val="4202606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1C654-9D67-A3A8-5857-ED93348F408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F9AFA6B-9048-1516-CDD2-3A50CA4F25C5}"/>
              </a:ext>
            </a:extLst>
          </p:cNvPr>
          <p:cNvSpPr>
            <a:spLocks noGrp="1"/>
          </p:cNvSpPr>
          <p:nvPr>
            <p:ph type="title"/>
          </p:nvPr>
        </p:nvSpPr>
        <p:spPr/>
        <p:txBody>
          <a:bodyPr/>
          <a:lstStyle/>
          <a:p>
            <a:r>
              <a:rPr lang="fr-FR" dirty="0"/>
              <a:t>Indemnisation du préjudice d’agrément</a:t>
            </a:r>
          </a:p>
        </p:txBody>
      </p:sp>
      <p:pic>
        <p:nvPicPr>
          <p:cNvPr id="4" name="Image 3">
            <a:extLst>
              <a:ext uri="{FF2B5EF4-FFF2-40B4-BE49-F238E27FC236}">
                <a16:creationId xmlns:a16="http://schemas.microsoft.com/office/drawing/2014/main" id="{C56D99A1-0A06-78F9-A6D7-A21EB4F44E89}"/>
              </a:ext>
            </a:extLst>
          </p:cNvPr>
          <p:cNvPicPr>
            <a:picLocks noChangeAspect="1"/>
          </p:cNvPicPr>
          <p:nvPr/>
        </p:nvPicPr>
        <p:blipFill>
          <a:blip r:embed="rId2"/>
          <a:stretch>
            <a:fillRect/>
          </a:stretch>
        </p:blipFill>
        <p:spPr>
          <a:xfrm>
            <a:off x="944608" y="985317"/>
            <a:ext cx="8841957" cy="4996384"/>
          </a:xfrm>
          <a:prstGeom prst="rect">
            <a:avLst/>
          </a:prstGeom>
        </p:spPr>
      </p:pic>
      <p:sp>
        <p:nvSpPr>
          <p:cNvPr id="5" name="ZoneTexte 4">
            <a:extLst>
              <a:ext uri="{FF2B5EF4-FFF2-40B4-BE49-F238E27FC236}">
                <a16:creationId xmlns:a16="http://schemas.microsoft.com/office/drawing/2014/main" id="{104F8731-4B3B-1F28-B747-D4430002EF19}"/>
              </a:ext>
            </a:extLst>
          </p:cNvPr>
          <p:cNvSpPr txBox="1"/>
          <p:nvPr/>
        </p:nvSpPr>
        <p:spPr>
          <a:xfrm rot="16200000">
            <a:off x="10013070" y="4407047"/>
            <a:ext cx="3490058" cy="261610"/>
          </a:xfrm>
          <a:prstGeom prst="rect">
            <a:avLst/>
          </a:prstGeom>
          <a:noFill/>
        </p:spPr>
        <p:txBody>
          <a:bodyPr wrap="none" rtlCol="0">
            <a:spAutoFit/>
          </a:bodyPr>
          <a:lstStyle/>
          <a:p>
            <a:r>
              <a:rPr lang="fr-FR" sz="1100" dirty="0"/>
              <a:t>Données au 11/11/2025 et tableau : </a:t>
            </a:r>
            <a:r>
              <a:rPr lang="fr-FR" sz="1100" dirty="0">
                <a:hlinkClick r:id="rId3"/>
              </a:rPr>
              <a:t>https://themia.pro/</a:t>
            </a:r>
            <a:r>
              <a:rPr lang="fr-FR" sz="1100" dirty="0"/>
              <a:t>  </a:t>
            </a:r>
          </a:p>
        </p:txBody>
      </p:sp>
    </p:spTree>
    <p:extLst>
      <p:ext uri="{BB962C8B-B14F-4D97-AF65-F5344CB8AC3E}">
        <p14:creationId xmlns:p14="http://schemas.microsoft.com/office/powerpoint/2010/main" val="42730121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C0A6E-71C0-B70D-FDB5-060375DC123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3A51F2E-25B8-7BB5-6262-6E04F51739FE}"/>
              </a:ext>
            </a:extLst>
          </p:cNvPr>
          <p:cNvSpPr>
            <a:spLocks noGrp="1"/>
          </p:cNvSpPr>
          <p:nvPr>
            <p:ph type="title"/>
          </p:nvPr>
        </p:nvSpPr>
        <p:spPr>
          <a:xfrm>
            <a:off x="838200" y="365126"/>
            <a:ext cx="9321800" cy="919221"/>
          </a:xfrm>
        </p:spPr>
        <p:txBody>
          <a:bodyPr/>
          <a:lstStyle/>
          <a:p>
            <a:r>
              <a:rPr lang="fr-FR" dirty="0"/>
              <a:t>Indemnisation du préjudice d’agrément : méthode nouvelle</a:t>
            </a:r>
          </a:p>
        </p:txBody>
      </p:sp>
      <p:sp>
        <p:nvSpPr>
          <p:cNvPr id="5" name="Content Placeholder 4">
            <a:extLst>
              <a:ext uri="{FF2B5EF4-FFF2-40B4-BE49-F238E27FC236}">
                <a16:creationId xmlns:a16="http://schemas.microsoft.com/office/drawing/2014/main" id="{DDFD5F72-DF41-4396-3887-73DEAB12F303}"/>
              </a:ext>
            </a:extLst>
          </p:cNvPr>
          <p:cNvSpPr>
            <a:spLocks noGrp="1"/>
          </p:cNvSpPr>
          <p:nvPr>
            <p:ph idx="1"/>
          </p:nvPr>
        </p:nvSpPr>
        <p:spPr>
          <a:xfrm>
            <a:off x="838200" y="1549400"/>
            <a:ext cx="10515600" cy="3978275"/>
          </a:xfrm>
        </p:spPr>
        <p:txBody>
          <a:bodyPr/>
          <a:lstStyle/>
          <a:p>
            <a:r>
              <a:rPr lang="fr-FR" sz="1600" dirty="0"/>
              <a:t>TJ Caen, Ch. procédure écrite, 10 juillet 2025, n° 24/00128</a:t>
            </a:r>
          </a:p>
          <a:p>
            <a:r>
              <a:rPr lang="fr-FR" sz="1600" dirty="0"/>
              <a:t>La demanderesse produit des attestations desquelles il ressort qu’elle avait pris un abonnement annuel pour assister à des cours d’</a:t>
            </a:r>
            <a:r>
              <a:rPr lang="fr-FR" sz="1600" dirty="0" err="1"/>
              <a:t>aquabike</a:t>
            </a:r>
            <a:r>
              <a:rPr lang="fr-FR" sz="1600" dirty="0"/>
              <a:t> et d’aquagym hebdomadaire (le lundi ou le jeudi matin) et qu’elle a dû arrêter ces activités, trop douloureuses pour les genoux et qu’elle avait l’habitude de faire de longs trajets à vélo une ou deux fois par semaine. Il est établi que son abonnement au centre nautique s’élevait à 51 € par mois et qu’elle a dû débourser la somme de 2035,94 € pour continuer à faire du vélo avec l’aide d’un vélo électrique. Comme vu supra, il est également établi que Madame [A] ne peut plus effectuer d’activité de jardinage. Même si cette activité n’est pas expressément mentionnée, les séquelles dont souffre la demanderesse l’empêchent de faire de la randonnée. L’indemnité annuelle sollicitée n’apparaît pas disproportionnée. Le préjudice d’agrément sera donc être indemnisé comme suit : </a:t>
            </a:r>
            <a:br>
              <a:rPr lang="fr-FR" sz="1600" dirty="0"/>
            </a:br>
            <a:endParaRPr lang="fr-FR" sz="1600" dirty="0"/>
          </a:p>
          <a:p>
            <a:r>
              <a:rPr lang="fr-FR" sz="1600" dirty="0"/>
              <a:t>Période Du 		Au 		Soit	 Indemnité annuelle 	Total </a:t>
            </a:r>
          </a:p>
          <a:p>
            <a:pPr>
              <a:tabLst>
                <a:tab pos="714375" algn="l"/>
              </a:tabLst>
            </a:pPr>
            <a:r>
              <a:rPr lang="fr-FR" sz="1600" dirty="0"/>
              <a:t>	16 février 2021 	10 juillet 2025 	4,87 ans 		1879,33 € 	9.152,33 € </a:t>
            </a:r>
          </a:p>
          <a:p>
            <a:r>
              <a:rPr lang="fr-FR" sz="1600" dirty="0"/>
              <a:t>pour l’avenir (34,74 ans) x 1 an 1879,33 € 					65.287,92 € </a:t>
            </a:r>
          </a:p>
          <a:p>
            <a:r>
              <a:rPr lang="fr-FR" sz="1600" dirty="0"/>
              <a:t>Total 74.440,25 € </a:t>
            </a:r>
            <a:br>
              <a:rPr lang="fr-FR" sz="1600" dirty="0"/>
            </a:br>
            <a:endParaRPr lang="fr-FR" sz="1600" dirty="0"/>
          </a:p>
          <a:p>
            <a:r>
              <a:rPr lang="fr-FR" sz="1600" dirty="0"/>
              <a:t>Par conséquent, il y a lieu d’allouer à Madame [A] la somme de 74.440,25 € au titre de son préjudice d’agrément. </a:t>
            </a:r>
          </a:p>
          <a:p>
            <a:endParaRPr lang="fr-FR" sz="1600" dirty="0"/>
          </a:p>
        </p:txBody>
      </p:sp>
    </p:spTree>
    <p:extLst>
      <p:ext uri="{BB962C8B-B14F-4D97-AF65-F5344CB8AC3E}">
        <p14:creationId xmlns:p14="http://schemas.microsoft.com/office/powerpoint/2010/main" val="3611680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87153D-F296-A46A-743E-C724C3B14A77}"/>
              </a:ext>
            </a:extLst>
          </p:cNvPr>
          <p:cNvSpPr>
            <a:spLocks noGrp="1"/>
          </p:cNvSpPr>
          <p:nvPr>
            <p:ph idx="1"/>
          </p:nvPr>
        </p:nvSpPr>
        <p:spPr>
          <a:xfrm>
            <a:off x="5055477" y="1845686"/>
            <a:ext cx="6450724" cy="3978275"/>
          </a:xfrm>
        </p:spPr>
        <p:txBody>
          <a:bodyPr/>
          <a:lstStyle/>
          <a:p>
            <a:r>
              <a:rPr lang="fr-FR" dirty="0"/>
              <a:t>Professeur Christophe QUEZEL-AMBRUNAZ	p. 03</a:t>
            </a:r>
          </a:p>
          <a:p>
            <a:r>
              <a:rPr lang="fr-FR" dirty="0"/>
              <a:t>	</a:t>
            </a:r>
          </a:p>
          <a:p>
            <a:r>
              <a:rPr lang="fr-FR" dirty="0"/>
              <a:t>Docteur Ruben GOLDET	p. 36</a:t>
            </a:r>
          </a:p>
          <a:p>
            <a:r>
              <a:rPr lang="fr-FR" dirty="0"/>
              <a:t>	</a:t>
            </a:r>
          </a:p>
          <a:p>
            <a:r>
              <a:rPr lang="fr-FR" dirty="0"/>
              <a:t>Maître Lynda LETTAT-OUATAH	p. 49</a:t>
            </a:r>
          </a:p>
          <a:p>
            <a:endParaRPr lang="fr-FR" dirty="0"/>
          </a:p>
        </p:txBody>
      </p:sp>
      <p:sp>
        <p:nvSpPr>
          <p:cNvPr id="2" name="Title 1">
            <a:extLst>
              <a:ext uri="{FF2B5EF4-FFF2-40B4-BE49-F238E27FC236}">
                <a16:creationId xmlns:a16="http://schemas.microsoft.com/office/drawing/2014/main" id="{79EBAA6F-1560-8E2F-949F-1499E00F147C}"/>
              </a:ext>
            </a:extLst>
          </p:cNvPr>
          <p:cNvSpPr>
            <a:spLocks noGrp="1"/>
          </p:cNvSpPr>
          <p:nvPr>
            <p:ph type="title"/>
          </p:nvPr>
        </p:nvSpPr>
        <p:spPr>
          <a:xfrm>
            <a:off x="-31530" y="741524"/>
            <a:ext cx="3236815" cy="919221"/>
          </a:xfrm>
        </p:spPr>
        <p:txBody>
          <a:bodyPr/>
          <a:lstStyle/>
          <a:p>
            <a:r>
              <a:rPr lang="fr-FR" dirty="0"/>
              <a:t>Sommaire</a:t>
            </a:r>
          </a:p>
        </p:txBody>
      </p:sp>
    </p:spTree>
    <p:extLst>
      <p:ext uri="{BB962C8B-B14F-4D97-AF65-F5344CB8AC3E}">
        <p14:creationId xmlns:p14="http://schemas.microsoft.com/office/powerpoint/2010/main" val="289588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D66EA-DBDB-2391-EDD1-66A14BFD17E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FBF8C41-975F-60C7-C878-621610F29243}"/>
              </a:ext>
            </a:extLst>
          </p:cNvPr>
          <p:cNvSpPr>
            <a:spLocks noGrp="1"/>
          </p:cNvSpPr>
          <p:nvPr>
            <p:ph type="title"/>
          </p:nvPr>
        </p:nvSpPr>
        <p:spPr/>
        <p:txBody>
          <a:bodyPr/>
          <a:lstStyle/>
          <a:p>
            <a:r>
              <a:rPr lang="fr-FR" dirty="0"/>
              <a:t>Indemnisation du préjudice sexuel</a:t>
            </a:r>
          </a:p>
        </p:txBody>
      </p:sp>
      <p:pic>
        <p:nvPicPr>
          <p:cNvPr id="4" name="Image 3">
            <a:extLst>
              <a:ext uri="{FF2B5EF4-FFF2-40B4-BE49-F238E27FC236}">
                <a16:creationId xmlns:a16="http://schemas.microsoft.com/office/drawing/2014/main" id="{D85AD702-45F1-5D92-95A9-D6B69D9F4168}"/>
              </a:ext>
            </a:extLst>
          </p:cNvPr>
          <p:cNvPicPr>
            <a:picLocks noChangeAspect="1"/>
          </p:cNvPicPr>
          <p:nvPr/>
        </p:nvPicPr>
        <p:blipFill>
          <a:blip r:embed="rId2"/>
          <a:stretch>
            <a:fillRect/>
          </a:stretch>
        </p:blipFill>
        <p:spPr>
          <a:xfrm>
            <a:off x="118228" y="1895261"/>
            <a:ext cx="11955543" cy="3067478"/>
          </a:xfrm>
          <a:prstGeom prst="rect">
            <a:avLst/>
          </a:prstGeom>
        </p:spPr>
      </p:pic>
      <p:sp>
        <p:nvSpPr>
          <p:cNvPr id="5" name="ZoneTexte 4">
            <a:extLst>
              <a:ext uri="{FF2B5EF4-FFF2-40B4-BE49-F238E27FC236}">
                <a16:creationId xmlns:a16="http://schemas.microsoft.com/office/drawing/2014/main" id="{0D59D307-EE5C-0F5C-499B-9C5FDCDADF4F}"/>
              </a:ext>
            </a:extLst>
          </p:cNvPr>
          <p:cNvSpPr txBox="1"/>
          <p:nvPr/>
        </p:nvSpPr>
        <p:spPr>
          <a:xfrm>
            <a:off x="3085496" y="6160511"/>
            <a:ext cx="6021007" cy="369332"/>
          </a:xfrm>
          <a:prstGeom prst="rect">
            <a:avLst/>
          </a:prstGeom>
          <a:noFill/>
        </p:spPr>
        <p:txBody>
          <a:bodyPr wrap="none" rtlCol="0">
            <a:spAutoFit/>
          </a:bodyPr>
          <a:lstStyle/>
          <a:p>
            <a:r>
              <a:rPr lang="fr-FR" dirty="0"/>
              <a:t>Données au 11/11/2025 et graphiques : </a:t>
            </a:r>
            <a:r>
              <a:rPr lang="fr-FR" dirty="0">
                <a:hlinkClick r:id="rId3"/>
              </a:rPr>
              <a:t>https://themia.pro/</a:t>
            </a:r>
            <a:r>
              <a:rPr lang="fr-FR" dirty="0"/>
              <a:t>  </a:t>
            </a:r>
          </a:p>
        </p:txBody>
      </p:sp>
    </p:spTree>
    <p:extLst>
      <p:ext uri="{BB962C8B-B14F-4D97-AF65-F5344CB8AC3E}">
        <p14:creationId xmlns:p14="http://schemas.microsoft.com/office/powerpoint/2010/main" val="32853571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EDF7FA-1076-FBC2-5F2E-1E004F9A8089}"/>
              </a:ext>
            </a:extLst>
          </p:cNvPr>
          <p:cNvSpPr>
            <a:spLocks noGrp="1"/>
          </p:cNvSpPr>
          <p:nvPr>
            <p:ph type="title"/>
          </p:nvPr>
        </p:nvSpPr>
        <p:spPr/>
        <p:txBody>
          <a:bodyPr/>
          <a:lstStyle/>
          <a:p>
            <a:r>
              <a:rPr lang="fr-FR" dirty="0"/>
              <a:t>Indemnisation du préjudice sexue</a:t>
            </a:r>
          </a:p>
        </p:txBody>
      </p:sp>
      <p:pic>
        <p:nvPicPr>
          <p:cNvPr id="5" name="Espace réservé du contenu 4">
            <a:extLst>
              <a:ext uri="{FF2B5EF4-FFF2-40B4-BE49-F238E27FC236}">
                <a16:creationId xmlns:a16="http://schemas.microsoft.com/office/drawing/2014/main" id="{AD43985D-A8E0-67EA-180E-4BF2A6F87041}"/>
              </a:ext>
            </a:extLst>
          </p:cNvPr>
          <p:cNvPicPr>
            <a:picLocks noGrp="1" noChangeAspect="1"/>
          </p:cNvPicPr>
          <p:nvPr>
            <p:ph idx="1"/>
          </p:nvPr>
        </p:nvPicPr>
        <p:blipFill>
          <a:blip r:embed="rId2"/>
          <a:stretch>
            <a:fillRect/>
          </a:stretch>
        </p:blipFill>
        <p:spPr>
          <a:xfrm>
            <a:off x="320277" y="1166676"/>
            <a:ext cx="11551446" cy="4859383"/>
          </a:xfrm>
          <a:prstGeom prst="rect">
            <a:avLst/>
          </a:prstGeom>
        </p:spPr>
      </p:pic>
      <p:sp>
        <p:nvSpPr>
          <p:cNvPr id="6" name="ZoneTexte 5">
            <a:extLst>
              <a:ext uri="{FF2B5EF4-FFF2-40B4-BE49-F238E27FC236}">
                <a16:creationId xmlns:a16="http://schemas.microsoft.com/office/drawing/2014/main" id="{EF871C4D-C147-D155-C7BF-EFA24052D791}"/>
              </a:ext>
            </a:extLst>
          </p:cNvPr>
          <p:cNvSpPr txBox="1"/>
          <p:nvPr/>
        </p:nvSpPr>
        <p:spPr>
          <a:xfrm>
            <a:off x="3055679" y="6345178"/>
            <a:ext cx="3490058" cy="261610"/>
          </a:xfrm>
          <a:prstGeom prst="rect">
            <a:avLst/>
          </a:prstGeom>
          <a:noFill/>
        </p:spPr>
        <p:txBody>
          <a:bodyPr wrap="none" rtlCol="0">
            <a:spAutoFit/>
          </a:bodyPr>
          <a:lstStyle/>
          <a:p>
            <a:r>
              <a:rPr lang="fr-FR" sz="1100" dirty="0"/>
              <a:t>Données au 11/11/2025 et tableau : </a:t>
            </a:r>
            <a:r>
              <a:rPr lang="fr-FR" sz="1100" dirty="0">
                <a:hlinkClick r:id="rId3"/>
              </a:rPr>
              <a:t>https://themia.pro/</a:t>
            </a:r>
            <a:r>
              <a:rPr lang="fr-FR" sz="1100" dirty="0"/>
              <a:t>  </a:t>
            </a:r>
          </a:p>
        </p:txBody>
      </p:sp>
    </p:spTree>
    <p:extLst>
      <p:ext uri="{BB962C8B-B14F-4D97-AF65-F5344CB8AC3E}">
        <p14:creationId xmlns:p14="http://schemas.microsoft.com/office/powerpoint/2010/main" val="373051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26EE4-BEE2-F0D5-EE29-33FC9CA2A9D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D85741F-D707-9A9A-D066-C851C9B9CBCF}"/>
              </a:ext>
            </a:extLst>
          </p:cNvPr>
          <p:cNvSpPr>
            <a:spLocks noGrp="1"/>
          </p:cNvSpPr>
          <p:nvPr>
            <p:ph type="title"/>
          </p:nvPr>
        </p:nvSpPr>
        <p:spPr/>
        <p:txBody>
          <a:bodyPr/>
          <a:lstStyle/>
          <a:p>
            <a:r>
              <a:rPr lang="fr-FR" dirty="0"/>
              <a:t>Indemnisation du préjudice d’établissement</a:t>
            </a:r>
          </a:p>
        </p:txBody>
      </p:sp>
      <p:pic>
        <p:nvPicPr>
          <p:cNvPr id="5" name="Image 4">
            <a:extLst>
              <a:ext uri="{FF2B5EF4-FFF2-40B4-BE49-F238E27FC236}">
                <a16:creationId xmlns:a16="http://schemas.microsoft.com/office/drawing/2014/main" id="{37DEE2A6-7BDB-1EFA-DD67-C9637D82B248}"/>
              </a:ext>
            </a:extLst>
          </p:cNvPr>
          <p:cNvPicPr>
            <a:picLocks noChangeAspect="1"/>
          </p:cNvPicPr>
          <p:nvPr/>
        </p:nvPicPr>
        <p:blipFill>
          <a:blip r:embed="rId2"/>
          <a:stretch>
            <a:fillRect/>
          </a:stretch>
        </p:blipFill>
        <p:spPr>
          <a:xfrm>
            <a:off x="42016" y="2248718"/>
            <a:ext cx="12107965" cy="3096057"/>
          </a:xfrm>
          <a:prstGeom prst="rect">
            <a:avLst/>
          </a:prstGeom>
        </p:spPr>
      </p:pic>
      <p:sp>
        <p:nvSpPr>
          <p:cNvPr id="6" name="ZoneTexte 5">
            <a:extLst>
              <a:ext uri="{FF2B5EF4-FFF2-40B4-BE49-F238E27FC236}">
                <a16:creationId xmlns:a16="http://schemas.microsoft.com/office/drawing/2014/main" id="{5FDA3246-0157-F021-84DC-29A789C096D3}"/>
              </a:ext>
            </a:extLst>
          </p:cNvPr>
          <p:cNvSpPr txBox="1"/>
          <p:nvPr/>
        </p:nvSpPr>
        <p:spPr>
          <a:xfrm>
            <a:off x="3085496" y="6160511"/>
            <a:ext cx="6021007" cy="369332"/>
          </a:xfrm>
          <a:prstGeom prst="rect">
            <a:avLst/>
          </a:prstGeom>
          <a:noFill/>
        </p:spPr>
        <p:txBody>
          <a:bodyPr wrap="none" rtlCol="0">
            <a:spAutoFit/>
          </a:bodyPr>
          <a:lstStyle/>
          <a:p>
            <a:r>
              <a:rPr lang="fr-FR" dirty="0"/>
              <a:t>Données au 11/11/2025 et graphiques : </a:t>
            </a:r>
            <a:r>
              <a:rPr lang="fr-FR" dirty="0">
                <a:hlinkClick r:id="rId3"/>
              </a:rPr>
              <a:t>https://themia.pro/</a:t>
            </a:r>
            <a:r>
              <a:rPr lang="fr-FR" dirty="0"/>
              <a:t>  </a:t>
            </a:r>
          </a:p>
        </p:txBody>
      </p:sp>
    </p:spTree>
    <p:extLst>
      <p:ext uri="{BB962C8B-B14F-4D97-AF65-F5344CB8AC3E}">
        <p14:creationId xmlns:p14="http://schemas.microsoft.com/office/powerpoint/2010/main" val="39895002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F29A7-DBCB-1F0D-5EE9-1AFD1C2504D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500857A-D62F-685E-9A7F-459004310E4C}"/>
              </a:ext>
            </a:extLst>
          </p:cNvPr>
          <p:cNvSpPr>
            <a:spLocks noGrp="1"/>
          </p:cNvSpPr>
          <p:nvPr>
            <p:ph type="title"/>
          </p:nvPr>
        </p:nvSpPr>
        <p:spPr/>
        <p:txBody>
          <a:bodyPr/>
          <a:lstStyle/>
          <a:p>
            <a:r>
              <a:rPr lang="fr-FR" dirty="0"/>
              <a:t>Indemnisation du préjudice d’établissement</a:t>
            </a:r>
          </a:p>
        </p:txBody>
      </p:sp>
      <p:pic>
        <p:nvPicPr>
          <p:cNvPr id="4" name="Image 3">
            <a:extLst>
              <a:ext uri="{FF2B5EF4-FFF2-40B4-BE49-F238E27FC236}">
                <a16:creationId xmlns:a16="http://schemas.microsoft.com/office/drawing/2014/main" id="{5ABA52DA-E4F5-E021-06D1-111EA8528451}"/>
              </a:ext>
            </a:extLst>
          </p:cNvPr>
          <p:cNvPicPr>
            <a:picLocks noChangeAspect="1"/>
          </p:cNvPicPr>
          <p:nvPr/>
        </p:nvPicPr>
        <p:blipFill>
          <a:blip r:embed="rId2"/>
          <a:stretch>
            <a:fillRect/>
          </a:stretch>
        </p:blipFill>
        <p:spPr>
          <a:xfrm>
            <a:off x="838200" y="1058207"/>
            <a:ext cx="10725150" cy="4905908"/>
          </a:xfrm>
          <a:prstGeom prst="rect">
            <a:avLst/>
          </a:prstGeom>
        </p:spPr>
      </p:pic>
      <p:sp>
        <p:nvSpPr>
          <p:cNvPr id="6" name="ZoneTexte 5">
            <a:extLst>
              <a:ext uri="{FF2B5EF4-FFF2-40B4-BE49-F238E27FC236}">
                <a16:creationId xmlns:a16="http://schemas.microsoft.com/office/drawing/2014/main" id="{995B82E4-19B3-7AE4-BBCC-714C1040BBEA}"/>
              </a:ext>
            </a:extLst>
          </p:cNvPr>
          <p:cNvSpPr txBox="1"/>
          <p:nvPr/>
        </p:nvSpPr>
        <p:spPr>
          <a:xfrm>
            <a:off x="3055679" y="6345178"/>
            <a:ext cx="3490058" cy="261610"/>
          </a:xfrm>
          <a:prstGeom prst="rect">
            <a:avLst/>
          </a:prstGeom>
          <a:noFill/>
        </p:spPr>
        <p:txBody>
          <a:bodyPr wrap="none" rtlCol="0">
            <a:spAutoFit/>
          </a:bodyPr>
          <a:lstStyle/>
          <a:p>
            <a:r>
              <a:rPr lang="fr-FR" sz="1100" dirty="0"/>
              <a:t>Données au 11/11/2025 et tableau : </a:t>
            </a:r>
            <a:r>
              <a:rPr lang="fr-FR" sz="1100" dirty="0">
                <a:hlinkClick r:id="rId3"/>
              </a:rPr>
              <a:t>https://themia.pro/</a:t>
            </a:r>
            <a:r>
              <a:rPr lang="fr-FR" sz="1100" dirty="0"/>
              <a:t>  </a:t>
            </a:r>
          </a:p>
        </p:txBody>
      </p:sp>
    </p:spTree>
    <p:extLst>
      <p:ext uri="{BB962C8B-B14F-4D97-AF65-F5344CB8AC3E}">
        <p14:creationId xmlns:p14="http://schemas.microsoft.com/office/powerpoint/2010/main" val="2050907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380A2BCE-D9A7-EA89-12C3-674D21FDC763}"/>
              </a:ext>
            </a:extLst>
          </p:cNvPr>
          <p:cNvPicPr>
            <a:picLocks noChangeAspect="1"/>
          </p:cNvPicPr>
          <p:nvPr/>
        </p:nvPicPr>
        <p:blipFill>
          <a:blip r:embed="rId2"/>
          <a:stretch>
            <a:fillRect/>
          </a:stretch>
        </p:blipFill>
        <p:spPr>
          <a:xfrm>
            <a:off x="2282671" y="312369"/>
            <a:ext cx="7626658" cy="6180506"/>
          </a:xfrm>
          <a:prstGeom prst="rect">
            <a:avLst/>
          </a:prstGeom>
        </p:spPr>
      </p:pic>
      <p:sp>
        <p:nvSpPr>
          <p:cNvPr id="11" name="ZoneTexte 10">
            <a:extLst>
              <a:ext uri="{FF2B5EF4-FFF2-40B4-BE49-F238E27FC236}">
                <a16:creationId xmlns:a16="http://schemas.microsoft.com/office/drawing/2014/main" id="{0CC12214-5834-7D16-5DB9-D82DE9DAFE72}"/>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
        <p:nvSpPr>
          <p:cNvPr id="5" name="Titre 2">
            <a:extLst>
              <a:ext uri="{FF2B5EF4-FFF2-40B4-BE49-F238E27FC236}">
                <a16:creationId xmlns:a16="http://schemas.microsoft.com/office/drawing/2014/main" id="{338484C4-1B75-9497-6D85-5BF340EDA1C3}"/>
              </a:ext>
            </a:extLst>
          </p:cNvPr>
          <p:cNvSpPr txBox="1">
            <a:spLocks/>
          </p:cNvSpPr>
          <p:nvPr/>
        </p:nvSpPr>
        <p:spPr>
          <a:xfrm rot="16200000">
            <a:off x="-1716567" y="2547612"/>
            <a:ext cx="5728008" cy="91922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bg2"/>
                </a:solidFill>
                <a:latin typeface="+mj-lt"/>
                <a:ea typeface="+mj-ea"/>
                <a:cs typeface="+mj-cs"/>
              </a:defRPr>
            </a:lvl1pPr>
          </a:lstStyle>
          <a:p>
            <a:r>
              <a:rPr lang="fr-FR" dirty="0"/>
              <a:t>Le préjudice d’agrément </a:t>
            </a:r>
            <a:br>
              <a:rPr lang="fr-FR" dirty="0"/>
            </a:br>
            <a:r>
              <a:rPr lang="fr-FR" dirty="0"/>
              <a:t>en fonction du DFP</a:t>
            </a:r>
          </a:p>
        </p:txBody>
      </p:sp>
    </p:spTree>
    <p:extLst>
      <p:ext uri="{BB962C8B-B14F-4D97-AF65-F5344CB8AC3E}">
        <p14:creationId xmlns:p14="http://schemas.microsoft.com/office/powerpoint/2010/main" val="824607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AF697-27BF-381C-08CB-02105E19D48E}"/>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14D5A342-0655-DC70-D240-B7F0C1BA97EC}"/>
              </a:ext>
            </a:extLst>
          </p:cNvPr>
          <p:cNvSpPr>
            <a:spLocks noGrp="1"/>
          </p:cNvSpPr>
          <p:nvPr>
            <p:ph type="title"/>
          </p:nvPr>
        </p:nvSpPr>
        <p:spPr>
          <a:xfrm rot="16200000">
            <a:off x="-1716567" y="2547612"/>
            <a:ext cx="5728008" cy="919221"/>
          </a:xfrm>
        </p:spPr>
        <p:txBody>
          <a:bodyPr/>
          <a:lstStyle/>
          <a:p>
            <a:r>
              <a:rPr lang="fr-FR" dirty="0"/>
              <a:t>Le préjudice d’agrément </a:t>
            </a:r>
            <a:br>
              <a:rPr lang="fr-FR" dirty="0"/>
            </a:br>
            <a:r>
              <a:rPr lang="fr-FR" dirty="0"/>
              <a:t>en fonction de l’âge</a:t>
            </a:r>
          </a:p>
        </p:txBody>
      </p:sp>
      <p:pic>
        <p:nvPicPr>
          <p:cNvPr id="4" name="Image 3">
            <a:extLst>
              <a:ext uri="{FF2B5EF4-FFF2-40B4-BE49-F238E27FC236}">
                <a16:creationId xmlns:a16="http://schemas.microsoft.com/office/drawing/2014/main" id="{CBF47438-1B8E-2D3E-8256-E910D7F1E7D1}"/>
              </a:ext>
            </a:extLst>
          </p:cNvPr>
          <p:cNvPicPr>
            <a:picLocks noChangeAspect="1"/>
          </p:cNvPicPr>
          <p:nvPr/>
        </p:nvPicPr>
        <p:blipFill>
          <a:blip r:embed="rId2"/>
          <a:stretch>
            <a:fillRect/>
          </a:stretch>
        </p:blipFill>
        <p:spPr>
          <a:xfrm>
            <a:off x="1864662" y="-154236"/>
            <a:ext cx="8462675" cy="6858000"/>
          </a:xfrm>
          <a:prstGeom prst="rect">
            <a:avLst/>
          </a:prstGeom>
        </p:spPr>
      </p:pic>
      <p:sp>
        <p:nvSpPr>
          <p:cNvPr id="5" name="ZoneTexte 4">
            <a:extLst>
              <a:ext uri="{FF2B5EF4-FFF2-40B4-BE49-F238E27FC236}">
                <a16:creationId xmlns:a16="http://schemas.microsoft.com/office/drawing/2014/main" id="{02F2760F-DF3A-018B-343C-71AC3F3609AE}"/>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1843533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F8A4D-150E-7EE1-032B-1BE94C720B95}"/>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F6E9FB1D-EF57-4495-D795-E9BAC7DB0F9B}"/>
              </a:ext>
            </a:extLst>
          </p:cNvPr>
          <p:cNvSpPr>
            <a:spLocks noGrp="1"/>
          </p:cNvSpPr>
          <p:nvPr>
            <p:ph type="title"/>
          </p:nvPr>
        </p:nvSpPr>
        <p:spPr>
          <a:xfrm rot="16200000">
            <a:off x="-2021367" y="2547613"/>
            <a:ext cx="5728008" cy="919221"/>
          </a:xfrm>
        </p:spPr>
        <p:txBody>
          <a:bodyPr/>
          <a:lstStyle/>
          <a:p>
            <a:r>
              <a:rPr lang="fr-FR" dirty="0"/>
              <a:t>Le préjudice d’établissement </a:t>
            </a:r>
            <a:br>
              <a:rPr lang="fr-FR" dirty="0"/>
            </a:br>
            <a:r>
              <a:rPr lang="fr-FR" dirty="0"/>
              <a:t>en fonction du DFP</a:t>
            </a:r>
          </a:p>
        </p:txBody>
      </p:sp>
      <p:pic>
        <p:nvPicPr>
          <p:cNvPr id="5" name="Image 4">
            <a:extLst>
              <a:ext uri="{FF2B5EF4-FFF2-40B4-BE49-F238E27FC236}">
                <a16:creationId xmlns:a16="http://schemas.microsoft.com/office/drawing/2014/main" id="{C33CC052-074F-B17F-75B0-8FAACBAC7266}"/>
              </a:ext>
            </a:extLst>
          </p:cNvPr>
          <p:cNvPicPr>
            <a:picLocks noChangeAspect="1"/>
          </p:cNvPicPr>
          <p:nvPr/>
        </p:nvPicPr>
        <p:blipFill>
          <a:blip r:embed="rId2"/>
          <a:stretch>
            <a:fillRect/>
          </a:stretch>
        </p:blipFill>
        <p:spPr>
          <a:xfrm>
            <a:off x="2181936" y="0"/>
            <a:ext cx="7828127" cy="6858000"/>
          </a:xfrm>
          <a:prstGeom prst="rect">
            <a:avLst/>
          </a:prstGeom>
        </p:spPr>
      </p:pic>
      <p:sp>
        <p:nvSpPr>
          <p:cNvPr id="6" name="ZoneTexte 5">
            <a:extLst>
              <a:ext uri="{FF2B5EF4-FFF2-40B4-BE49-F238E27FC236}">
                <a16:creationId xmlns:a16="http://schemas.microsoft.com/office/drawing/2014/main" id="{02B0AA19-6693-DB57-EC23-2B9568BBDFC4}"/>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1325666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C30DB-4158-3C4D-CAF0-8461CE6DB03E}"/>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43E28895-6059-5F1E-49E8-F0EC59291F02}"/>
              </a:ext>
            </a:extLst>
          </p:cNvPr>
          <p:cNvSpPr>
            <a:spLocks noGrp="1"/>
          </p:cNvSpPr>
          <p:nvPr>
            <p:ph type="title"/>
          </p:nvPr>
        </p:nvSpPr>
        <p:spPr>
          <a:xfrm rot="16200000">
            <a:off x="-2021367" y="2547613"/>
            <a:ext cx="5728008" cy="919221"/>
          </a:xfrm>
        </p:spPr>
        <p:txBody>
          <a:bodyPr/>
          <a:lstStyle/>
          <a:p>
            <a:r>
              <a:rPr lang="fr-FR" dirty="0"/>
              <a:t>Le préjudice d’établissement </a:t>
            </a:r>
            <a:br>
              <a:rPr lang="fr-FR" dirty="0"/>
            </a:br>
            <a:r>
              <a:rPr lang="fr-FR" dirty="0"/>
              <a:t>en fonction de l’âge</a:t>
            </a:r>
          </a:p>
        </p:txBody>
      </p:sp>
      <p:pic>
        <p:nvPicPr>
          <p:cNvPr id="4" name="Image 3">
            <a:extLst>
              <a:ext uri="{FF2B5EF4-FFF2-40B4-BE49-F238E27FC236}">
                <a16:creationId xmlns:a16="http://schemas.microsoft.com/office/drawing/2014/main" id="{C292D4AB-F567-9947-7A08-1C4B4C250037}"/>
              </a:ext>
            </a:extLst>
          </p:cNvPr>
          <p:cNvPicPr>
            <a:picLocks noChangeAspect="1"/>
          </p:cNvPicPr>
          <p:nvPr/>
        </p:nvPicPr>
        <p:blipFill>
          <a:blip r:embed="rId2"/>
          <a:stretch>
            <a:fillRect/>
          </a:stretch>
        </p:blipFill>
        <p:spPr>
          <a:xfrm>
            <a:off x="2181936" y="0"/>
            <a:ext cx="7828127" cy="6858000"/>
          </a:xfrm>
          <a:prstGeom prst="rect">
            <a:avLst/>
          </a:prstGeom>
        </p:spPr>
      </p:pic>
      <p:sp>
        <p:nvSpPr>
          <p:cNvPr id="5" name="ZoneTexte 4">
            <a:extLst>
              <a:ext uri="{FF2B5EF4-FFF2-40B4-BE49-F238E27FC236}">
                <a16:creationId xmlns:a16="http://schemas.microsoft.com/office/drawing/2014/main" id="{9EC0A8EF-F275-E809-E803-341F89EF139C}"/>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38392159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FB870-C200-4829-66C6-1E1956F2E29B}"/>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5E34CEE0-4559-DF18-22EB-B6BF3D0F455E}"/>
              </a:ext>
            </a:extLst>
          </p:cNvPr>
          <p:cNvSpPr>
            <a:spLocks noGrp="1"/>
          </p:cNvSpPr>
          <p:nvPr>
            <p:ph type="title"/>
          </p:nvPr>
        </p:nvSpPr>
        <p:spPr>
          <a:xfrm rot="16200000">
            <a:off x="-1716567" y="2547612"/>
            <a:ext cx="5728008" cy="919221"/>
          </a:xfrm>
        </p:spPr>
        <p:txBody>
          <a:bodyPr/>
          <a:lstStyle/>
          <a:p>
            <a:r>
              <a:rPr lang="fr-FR" dirty="0"/>
              <a:t>Le préjudice sexuel </a:t>
            </a:r>
            <a:br>
              <a:rPr lang="fr-FR" dirty="0"/>
            </a:br>
            <a:r>
              <a:rPr lang="fr-FR" dirty="0"/>
              <a:t>en fonction du DFP</a:t>
            </a:r>
          </a:p>
        </p:txBody>
      </p:sp>
      <p:pic>
        <p:nvPicPr>
          <p:cNvPr id="6" name="Espace réservé du contenu 5">
            <a:extLst>
              <a:ext uri="{FF2B5EF4-FFF2-40B4-BE49-F238E27FC236}">
                <a16:creationId xmlns:a16="http://schemas.microsoft.com/office/drawing/2014/main" id="{377BF67A-963D-5127-92DA-387291167237}"/>
              </a:ext>
            </a:extLst>
          </p:cNvPr>
          <p:cNvPicPr>
            <a:picLocks noGrp="1" noChangeAspect="1"/>
          </p:cNvPicPr>
          <p:nvPr>
            <p:ph idx="1"/>
          </p:nvPr>
        </p:nvPicPr>
        <p:blipFill>
          <a:blip r:embed="rId2"/>
          <a:stretch>
            <a:fillRect/>
          </a:stretch>
        </p:blipFill>
        <p:spPr>
          <a:xfrm>
            <a:off x="2278655" y="365126"/>
            <a:ext cx="7634689" cy="6187017"/>
          </a:xfrm>
          <a:prstGeom prst="rect">
            <a:avLst/>
          </a:prstGeom>
        </p:spPr>
      </p:pic>
      <p:sp>
        <p:nvSpPr>
          <p:cNvPr id="2" name="ZoneTexte 1">
            <a:extLst>
              <a:ext uri="{FF2B5EF4-FFF2-40B4-BE49-F238E27FC236}">
                <a16:creationId xmlns:a16="http://schemas.microsoft.com/office/drawing/2014/main" id="{5BABB4CC-CD16-6A58-9CA2-8A080C0BAFA2}"/>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2132864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4C14B-97E6-6208-B49E-AB3E598F6D5C}"/>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F8FD650F-5425-94D0-6865-ABFD242008D3}"/>
              </a:ext>
            </a:extLst>
          </p:cNvPr>
          <p:cNvSpPr>
            <a:spLocks noGrp="1"/>
          </p:cNvSpPr>
          <p:nvPr>
            <p:ph type="title"/>
          </p:nvPr>
        </p:nvSpPr>
        <p:spPr>
          <a:xfrm rot="16200000">
            <a:off x="-1716567" y="2547612"/>
            <a:ext cx="5728008" cy="919221"/>
          </a:xfrm>
        </p:spPr>
        <p:txBody>
          <a:bodyPr/>
          <a:lstStyle/>
          <a:p>
            <a:r>
              <a:rPr lang="fr-FR" dirty="0"/>
              <a:t>Le préjudice sexuel </a:t>
            </a:r>
            <a:br>
              <a:rPr lang="fr-FR" dirty="0"/>
            </a:br>
            <a:r>
              <a:rPr lang="fr-FR" dirty="0"/>
              <a:t>en fonction de l’âge</a:t>
            </a:r>
          </a:p>
        </p:txBody>
      </p:sp>
      <p:pic>
        <p:nvPicPr>
          <p:cNvPr id="7" name="Image 6">
            <a:extLst>
              <a:ext uri="{FF2B5EF4-FFF2-40B4-BE49-F238E27FC236}">
                <a16:creationId xmlns:a16="http://schemas.microsoft.com/office/drawing/2014/main" id="{4FDEACAA-4F7C-241D-05E1-30385A6A5275}"/>
              </a:ext>
            </a:extLst>
          </p:cNvPr>
          <p:cNvPicPr>
            <a:picLocks noChangeAspect="1"/>
          </p:cNvPicPr>
          <p:nvPr/>
        </p:nvPicPr>
        <p:blipFill>
          <a:blip r:embed="rId2"/>
          <a:stretch>
            <a:fillRect/>
          </a:stretch>
        </p:blipFill>
        <p:spPr>
          <a:xfrm>
            <a:off x="2249086" y="0"/>
            <a:ext cx="8462675" cy="6858000"/>
          </a:xfrm>
          <a:prstGeom prst="rect">
            <a:avLst/>
          </a:prstGeom>
        </p:spPr>
      </p:pic>
      <p:sp>
        <p:nvSpPr>
          <p:cNvPr id="8" name="ZoneTexte 7">
            <a:extLst>
              <a:ext uri="{FF2B5EF4-FFF2-40B4-BE49-F238E27FC236}">
                <a16:creationId xmlns:a16="http://schemas.microsoft.com/office/drawing/2014/main" id="{49064FE9-2FF7-0A79-5F34-5939C57B5E80}"/>
              </a:ext>
            </a:extLst>
          </p:cNvPr>
          <p:cNvSpPr txBox="1"/>
          <p:nvPr/>
        </p:nvSpPr>
        <p:spPr>
          <a:xfrm rot="16200000">
            <a:off x="8957938" y="3662830"/>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2314707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CCB2-0EF4-DDAA-5EAE-A12743A174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D22DAE-FA65-51EC-1006-31BBD944253B}"/>
              </a:ext>
            </a:extLst>
          </p:cNvPr>
          <p:cNvSpPr>
            <a:spLocks noGrp="1"/>
          </p:cNvSpPr>
          <p:nvPr>
            <p:ph type="ctrTitle"/>
            <p:custDataLst>
              <p:tags r:id="rId1"/>
            </p:custDataLst>
          </p:nvPr>
        </p:nvSpPr>
        <p:spPr>
          <a:xfrm>
            <a:off x="756742" y="1727022"/>
            <a:ext cx="6220707" cy="1882331"/>
          </a:xfrm>
        </p:spPr>
        <p:txBody>
          <a:bodyPr/>
          <a:lstStyle/>
          <a:p>
            <a:br>
              <a:rPr lang="fr-FR" dirty="0"/>
            </a:br>
            <a:r>
              <a:rPr lang="fr-FR" sz="2800" dirty="0"/>
              <a:t>PRÉJUDICE SEXUEL (PS) / PRÉJUDICE</a:t>
            </a:r>
            <a:br>
              <a:rPr lang="fr-FR" sz="2800" dirty="0"/>
            </a:br>
            <a:r>
              <a:rPr lang="fr-FR" sz="2800" dirty="0"/>
              <a:t>ESTHÉTIQUE TEMPORAIRE (PET) /</a:t>
            </a:r>
            <a:br>
              <a:rPr lang="fr-FR" sz="2800" dirty="0"/>
            </a:br>
            <a:r>
              <a:rPr lang="fr-FR" sz="2800" dirty="0"/>
              <a:t>PRÉJUDICE D’ÉTABLISSEMENT (PE) /</a:t>
            </a:r>
            <a:br>
              <a:rPr lang="fr-FR" sz="2800" dirty="0"/>
            </a:br>
            <a:r>
              <a:rPr lang="fr-FR" sz="2800" dirty="0"/>
              <a:t>PRÉJUDICE D’AGRÉMENT (PA)</a:t>
            </a:r>
            <a:r>
              <a:rPr lang="fr-FR" dirty="0"/>
              <a:t> </a:t>
            </a:r>
          </a:p>
        </p:txBody>
      </p:sp>
      <p:sp>
        <p:nvSpPr>
          <p:cNvPr id="3" name="Subtitle 2">
            <a:extLst>
              <a:ext uri="{FF2B5EF4-FFF2-40B4-BE49-F238E27FC236}">
                <a16:creationId xmlns:a16="http://schemas.microsoft.com/office/drawing/2014/main" id="{4390D16A-3B5E-D0A1-20E4-E5F63FE0BB98}"/>
              </a:ext>
            </a:extLst>
          </p:cNvPr>
          <p:cNvSpPr>
            <a:spLocks noGrp="1"/>
          </p:cNvSpPr>
          <p:nvPr>
            <p:ph type="subTitle" idx="1"/>
            <p:custDataLst>
              <p:tags r:id="rId2"/>
            </p:custDataLst>
          </p:nvPr>
        </p:nvSpPr>
        <p:spPr>
          <a:xfrm>
            <a:off x="756742" y="3724789"/>
            <a:ext cx="6677728" cy="576072"/>
          </a:xfrm>
        </p:spPr>
        <p:txBody>
          <a:bodyPr/>
          <a:lstStyle/>
          <a:p>
            <a:pPr algn="l"/>
            <a:endParaRPr lang="fr-FR" sz="2400" dirty="0"/>
          </a:p>
          <a:p>
            <a:pPr algn="l"/>
            <a:r>
              <a:rPr lang="fr-FR" sz="2400" dirty="0"/>
              <a:t>Professeur Christophe QUEZEL-AMBRUNAZ</a:t>
            </a:r>
          </a:p>
          <a:p>
            <a:pPr algn="l"/>
            <a:r>
              <a:rPr lang="fr-FR" sz="2000" dirty="0"/>
              <a:t>Professeur de droit privé à l’Université Savoie Mont-Blanc</a:t>
            </a:r>
          </a:p>
        </p:txBody>
      </p:sp>
    </p:spTree>
    <p:extLst>
      <p:ext uri="{BB962C8B-B14F-4D97-AF65-F5344CB8AC3E}">
        <p14:creationId xmlns:p14="http://schemas.microsoft.com/office/powerpoint/2010/main" val="3669649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A3060D-61AC-DAC0-F009-48B5F0139DE9}"/>
              </a:ext>
            </a:extLst>
          </p:cNvPr>
          <p:cNvSpPr>
            <a:spLocks noGrp="1"/>
          </p:cNvSpPr>
          <p:nvPr>
            <p:ph type="title"/>
          </p:nvPr>
        </p:nvSpPr>
        <p:spPr>
          <a:xfrm>
            <a:off x="838200" y="365126"/>
            <a:ext cx="9321800" cy="919221"/>
          </a:xfrm>
        </p:spPr>
        <p:txBody>
          <a:bodyPr/>
          <a:lstStyle/>
          <a:p>
            <a:r>
              <a:rPr lang="fr-FR" dirty="0"/>
              <a:t>Le préjudice sexuel selon les juridictions</a:t>
            </a:r>
          </a:p>
        </p:txBody>
      </p:sp>
      <p:pic>
        <p:nvPicPr>
          <p:cNvPr id="5" name="Espace réservé du contenu 4">
            <a:extLst>
              <a:ext uri="{FF2B5EF4-FFF2-40B4-BE49-F238E27FC236}">
                <a16:creationId xmlns:a16="http://schemas.microsoft.com/office/drawing/2014/main" id="{2EF84CD3-3B31-30AF-65FE-41308A888980}"/>
              </a:ext>
            </a:extLst>
          </p:cNvPr>
          <p:cNvPicPr>
            <a:picLocks noGrp="1" noChangeAspect="1"/>
          </p:cNvPicPr>
          <p:nvPr>
            <p:ph idx="1"/>
          </p:nvPr>
        </p:nvPicPr>
        <p:blipFill>
          <a:blip r:embed="rId2"/>
          <a:stretch>
            <a:fillRect/>
          </a:stretch>
        </p:blipFill>
        <p:spPr>
          <a:xfrm>
            <a:off x="390525" y="3094893"/>
            <a:ext cx="11410950" cy="1439738"/>
          </a:xfrm>
        </p:spPr>
      </p:pic>
      <p:sp>
        <p:nvSpPr>
          <p:cNvPr id="6" name="ZoneTexte 5">
            <a:extLst>
              <a:ext uri="{FF2B5EF4-FFF2-40B4-BE49-F238E27FC236}">
                <a16:creationId xmlns:a16="http://schemas.microsoft.com/office/drawing/2014/main" id="{40BB40A1-AFD6-D861-5BBE-18850F4BC755}"/>
              </a:ext>
            </a:extLst>
          </p:cNvPr>
          <p:cNvSpPr txBox="1"/>
          <p:nvPr/>
        </p:nvSpPr>
        <p:spPr>
          <a:xfrm>
            <a:off x="3085496" y="6123542"/>
            <a:ext cx="6021007" cy="369332"/>
          </a:xfrm>
          <a:prstGeom prst="rect">
            <a:avLst/>
          </a:prstGeom>
          <a:noFill/>
        </p:spPr>
        <p:txBody>
          <a:bodyPr wrap="none" rtlCol="0">
            <a:spAutoFit/>
          </a:bodyPr>
          <a:lstStyle/>
          <a:p>
            <a:r>
              <a:rPr lang="fr-FR" dirty="0"/>
              <a:t>Données au 11/11/2025 et graphique : </a:t>
            </a:r>
            <a:r>
              <a:rPr lang="fr-FR" dirty="0">
                <a:hlinkClick r:id="rId3"/>
              </a:rPr>
              <a:t>https://themia.pro/</a:t>
            </a:r>
            <a:r>
              <a:rPr lang="fr-FR" dirty="0"/>
              <a:t>  </a:t>
            </a:r>
          </a:p>
        </p:txBody>
      </p:sp>
    </p:spTree>
    <p:extLst>
      <p:ext uri="{BB962C8B-B14F-4D97-AF65-F5344CB8AC3E}">
        <p14:creationId xmlns:p14="http://schemas.microsoft.com/office/powerpoint/2010/main" val="3254721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4437C-3258-A633-83ED-33F84ECD441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D11E85B-BDE9-1ADE-F3CA-13A635ED1331}"/>
              </a:ext>
            </a:extLst>
          </p:cNvPr>
          <p:cNvSpPr>
            <a:spLocks noGrp="1"/>
          </p:cNvSpPr>
          <p:nvPr>
            <p:ph type="title"/>
          </p:nvPr>
        </p:nvSpPr>
        <p:spPr/>
        <p:txBody>
          <a:bodyPr/>
          <a:lstStyle/>
          <a:p>
            <a:r>
              <a:rPr lang="fr-FR" dirty="0"/>
              <a:t>Le préjudice sexuel selon les CA</a:t>
            </a:r>
          </a:p>
        </p:txBody>
      </p:sp>
      <p:pic>
        <p:nvPicPr>
          <p:cNvPr id="7" name="Image 6">
            <a:extLst>
              <a:ext uri="{FF2B5EF4-FFF2-40B4-BE49-F238E27FC236}">
                <a16:creationId xmlns:a16="http://schemas.microsoft.com/office/drawing/2014/main" id="{880328DF-65A8-F06E-ADF6-EB3AC2044C52}"/>
              </a:ext>
            </a:extLst>
          </p:cNvPr>
          <p:cNvPicPr>
            <a:picLocks noChangeAspect="1"/>
          </p:cNvPicPr>
          <p:nvPr/>
        </p:nvPicPr>
        <p:blipFill>
          <a:blip r:embed="rId3"/>
          <a:stretch>
            <a:fillRect/>
          </a:stretch>
        </p:blipFill>
        <p:spPr>
          <a:xfrm>
            <a:off x="1589619" y="952500"/>
            <a:ext cx="9012762" cy="5165930"/>
          </a:xfrm>
          <a:prstGeom prst="rect">
            <a:avLst/>
          </a:prstGeom>
        </p:spPr>
      </p:pic>
      <p:sp>
        <p:nvSpPr>
          <p:cNvPr id="8" name="ZoneTexte 7">
            <a:extLst>
              <a:ext uri="{FF2B5EF4-FFF2-40B4-BE49-F238E27FC236}">
                <a16:creationId xmlns:a16="http://schemas.microsoft.com/office/drawing/2014/main" id="{1ADEEE71-DD43-B885-1229-DD6FABD817B2}"/>
              </a:ext>
            </a:extLst>
          </p:cNvPr>
          <p:cNvSpPr txBox="1"/>
          <p:nvPr/>
        </p:nvSpPr>
        <p:spPr>
          <a:xfrm rot="16200000">
            <a:off x="9491869" y="3465520"/>
            <a:ext cx="4623955" cy="261610"/>
          </a:xfrm>
          <a:prstGeom prst="rect">
            <a:avLst/>
          </a:prstGeom>
          <a:noFill/>
        </p:spPr>
        <p:txBody>
          <a:bodyPr wrap="square" rtlCol="0">
            <a:spAutoFit/>
          </a:bodyPr>
          <a:lstStyle/>
          <a:p>
            <a:r>
              <a:rPr lang="fr-FR" sz="1100" dirty="0"/>
              <a:t>Données au 11/11/2025 et graphique : </a:t>
            </a:r>
            <a:r>
              <a:rPr lang="fr-FR" sz="1100" dirty="0">
                <a:hlinkClick r:id="rId4"/>
              </a:rPr>
              <a:t>https://themia.pro/</a:t>
            </a:r>
            <a:r>
              <a:rPr lang="fr-FR" sz="1100" dirty="0"/>
              <a:t>  </a:t>
            </a:r>
          </a:p>
        </p:txBody>
      </p:sp>
    </p:spTree>
    <p:extLst>
      <p:ext uri="{BB962C8B-B14F-4D97-AF65-F5344CB8AC3E}">
        <p14:creationId xmlns:p14="http://schemas.microsoft.com/office/powerpoint/2010/main" val="1567519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EF6C82-838C-F91D-B93F-2D4AFDFC9FCD}"/>
              </a:ext>
            </a:extLst>
          </p:cNvPr>
          <p:cNvSpPr>
            <a:spLocks noGrp="1"/>
          </p:cNvSpPr>
          <p:nvPr>
            <p:ph type="title"/>
          </p:nvPr>
        </p:nvSpPr>
        <p:spPr/>
        <p:txBody>
          <a:bodyPr/>
          <a:lstStyle/>
          <a:p>
            <a:r>
              <a:rPr lang="fr-FR" dirty="0"/>
              <a:t>Écart-type du préjudice sexuel selon les CA</a:t>
            </a:r>
          </a:p>
        </p:txBody>
      </p:sp>
      <p:pic>
        <p:nvPicPr>
          <p:cNvPr id="5" name="Espace réservé du contenu 4">
            <a:extLst>
              <a:ext uri="{FF2B5EF4-FFF2-40B4-BE49-F238E27FC236}">
                <a16:creationId xmlns:a16="http://schemas.microsoft.com/office/drawing/2014/main" id="{F76F26ED-68F6-569C-3F3F-1986E7942716}"/>
              </a:ext>
            </a:extLst>
          </p:cNvPr>
          <p:cNvPicPr>
            <a:picLocks noGrp="1" noChangeAspect="1"/>
          </p:cNvPicPr>
          <p:nvPr>
            <p:ph idx="1"/>
          </p:nvPr>
        </p:nvPicPr>
        <p:blipFill>
          <a:blip r:embed="rId2"/>
          <a:stretch>
            <a:fillRect/>
          </a:stretch>
        </p:blipFill>
        <p:spPr>
          <a:xfrm>
            <a:off x="1576246" y="895350"/>
            <a:ext cx="9039508" cy="5181262"/>
          </a:xfrm>
          <a:prstGeom prst="rect">
            <a:avLst/>
          </a:prstGeom>
        </p:spPr>
      </p:pic>
      <p:sp>
        <p:nvSpPr>
          <p:cNvPr id="6" name="ZoneTexte 5">
            <a:extLst>
              <a:ext uri="{FF2B5EF4-FFF2-40B4-BE49-F238E27FC236}">
                <a16:creationId xmlns:a16="http://schemas.microsoft.com/office/drawing/2014/main" id="{606D9736-6090-49E1-68F8-BCF47202F4ED}"/>
              </a:ext>
            </a:extLst>
          </p:cNvPr>
          <p:cNvSpPr txBox="1"/>
          <p:nvPr/>
        </p:nvSpPr>
        <p:spPr>
          <a:xfrm rot="16200000">
            <a:off x="9491869" y="3465520"/>
            <a:ext cx="4623955" cy="261610"/>
          </a:xfrm>
          <a:prstGeom prst="rect">
            <a:avLst/>
          </a:prstGeom>
          <a:noFill/>
        </p:spPr>
        <p:txBody>
          <a:bodyPr wrap="square" rtlCol="0">
            <a:spAutoFit/>
          </a:bodyPr>
          <a:lstStyle/>
          <a:p>
            <a:r>
              <a:rPr lang="fr-FR" sz="1100" dirty="0"/>
              <a:t>Données au 11/11/2025 et graphique : </a:t>
            </a:r>
            <a:r>
              <a:rPr lang="fr-FR" sz="1100" dirty="0">
                <a:hlinkClick r:id="rId3"/>
              </a:rPr>
              <a:t>https://themia.pro/</a:t>
            </a:r>
            <a:r>
              <a:rPr lang="fr-FR" sz="1100" dirty="0"/>
              <a:t>  </a:t>
            </a:r>
          </a:p>
        </p:txBody>
      </p:sp>
    </p:spTree>
    <p:extLst>
      <p:ext uri="{BB962C8B-B14F-4D97-AF65-F5344CB8AC3E}">
        <p14:creationId xmlns:p14="http://schemas.microsoft.com/office/powerpoint/2010/main" val="39877545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8E01A-225D-EAF2-64AE-A33E24817C9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A547C03-9FBE-A9A7-B2A8-E37999D6C800}"/>
              </a:ext>
            </a:extLst>
          </p:cNvPr>
          <p:cNvSpPr>
            <a:spLocks noGrp="1"/>
          </p:cNvSpPr>
          <p:nvPr>
            <p:ph type="title"/>
          </p:nvPr>
        </p:nvSpPr>
        <p:spPr>
          <a:xfrm>
            <a:off x="838200" y="365126"/>
            <a:ext cx="9321800" cy="919221"/>
          </a:xfrm>
        </p:spPr>
        <p:txBody>
          <a:bodyPr/>
          <a:lstStyle/>
          <a:p>
            <a:r>
              <a:rPr lang="fr-FR" dirty="0"/>
              <a:t>Préjudice esthétique temporaire (2,5-3,5/7), </a:t>
            </a:r>
            <a:br>
              <a:rPr lang="fr-FR" dirty="0"/>
            </a:br>
            <a:r>
              <a:rPr lang="fr-FR" dirty="0"/>
              <a:t>les femmes et les hommes (CA)</a:t>
            </a:r>
          </a:p>
        </p:txBody>
      </p:sp>
      <p:sp>
        <p:nvSpPr>
          <p:cNvPr id="11" name="Freeform: Shape 10">
            <a:extLst>
              <a:ext uri="{FF2B5EF4-FFF2-40B4-BE49-F238E27FC236}">
                <a16:creationId xmlns:a16="http://schemas.microsoft.com/office/drawing/2014/main" id="{6E0D28E5-6CA1-273A-7C96-92A27C633C46}"/>
              </a:ext>
            </a:extLst>
          </p:cNvPr>
          <p:cNvSpPr/>
          <p:nvPr/>
        </p:nvSpPr>
        <p:spPr>
          <a:xfrm>
            <a:off x="1888450"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90719" rIns="119294" bIns="90719" numCol="1" spcCol="1270" anchor="ctr" anchorCtr="0">
            <a:noAutofit/>
          </a:bodyPr>
          <a:lstStyle/>
          <a:p>
            <a:pPr marL="0" lvl="0" indent="0" defTabSz="2000250">
              <a:lnSpc>
                <a:spcPct val="90000"/>
              </a:lnSpc>
              <a:spcBef>
                <a:spcPct val="0"/>
              </a:spcBef>
              <a:spcAft>
                <a:spcPct val="35000"/>
              </a:spcAft>
              <a:buNone/>
            </a:pPr>
            <a:r>
              <a:rPr lang="fr-FR" sz="3200" kern="1200" dirty="0"/>
              <a:t>Femmes</a:t>
            </a:r>
          </a:p>
        </p:txBody>
      </p:sp>
      <p:sp>
        <p:nvSpPr>
          <p:cNvPr id="12" name="Freeform: Shape 11">
            <a:extLst>
              <a:ext uri="{FF2B5EF4-FFF2-40B4-BE49-F238E27FC236}">
                <a16:creationId xmlns:a16="http://schemas.microsoft.com/office/drawing/2014/main" id="{BF7C8CCF-BF40-DC17-5292-9370710DFF96}"/>
              </a:ext>
            </a:extLst>
          </p:cNvPr>
          <p:cNvSpPr/>
          <p:nvPr/>
        </p:nvSpPr>
        <p:spPr>
          <a:xfrm>
            <a:off x="2117676" y="2972630"/>
            <a:ext cx="229225" cy="859594"/>
          </a:xfrm>
          <a:custGeom>
            <a:avLst/>
            <a:gdLst/>
            <a:ahLst/>
            <a:cxnLst/>
            <a:rect l="0" t="0" r="0" b="0"/>
            <a:pathLst>
              <a:path>
                <a:moveTo>
                  <a:pt x="0" y="0"/>
                </a:moveTo>
                <a:lnTo>
                  <a:pt x="0" y="859594"/>
                </a:lnTo>
                <a:lnTo>
                  <a:pt x="229225" y="85959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3" name="Freeform: Shape 12">
            <a:extLst>
              <a:ext uri="{FF2B5EF4-FFF2-40B4-BE49-F238E27FC236}">
                <a16:creationId xmlns:a16="http://schemas.microsoft.com/office/drawing/2014/main" id="{AF37F9DB-DE7D-3DBA-7118-BA8FF3C8FEAB}"/>
              </a:ext>
            </a:extLst>
          </p:cNvPr>
          <p:cNvSpPr/>
          <p:nvPr/>
        </p:nvSpPr>
        <p:spPr>
          <a:xfrm>
            <a:off x="2346901" y="3259162"/>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a:t>
            </a:r>
            <a:br>
              <a:rPr lang="fr-FR" sz="2300" kern="1200" dirty="0"/>
            </a:br>
            <a:r>
              <a:rPr lang="fr-FR" sz="2300" kern="1200" dirty="0"/>
              <a:t>6 629 €</a:t>
            </a:r>
          </a:p>
        </p:txBody>
      </p:sp>
      <p:sp>
        <p:nvSpPr>
          <p:cNvPr id="14" name="Freeform: Shape 13">
            <a:extLst>
              <a:ext uri="{FF2B5EF4-FFF2-40B4-BE49-F238E27FC236}">
                <a16:creationId xmlns:a16="http://schemas.microsoft.com/office/drawing/2014/main" id="{9E13B4DB-C7E1-CCC2-C1CC-F6AA324B9194}"/>
              </a:ext>
            </a:extLst>
          </p:cNvPr>
          <p:cNvSpPr/>
          <p:nvPr/>
        </p:nvSpPr>
        <p:spPr>
          <a:xfrm>
            <a:off x="2117676" y="2972630"/>
            <a:ext cx="229225" cy="2292250"/>
          </a:xfrm>
          <a:custGeom>
            <a:avLst/>
            <a:gdLst/>
            <a:ahLst/>
            <a:cxnLst/>
            <a:rect l="0" t="0" r="0" b="0"/>
            <a:pathLst>
              <a:path>
                <a:moveTo>
                  <a:pt x="0" y="0"/>
                </a:moveTo>
                <a:lnTo>
                  <a:pt x="0" y="2292250"/>
                </a:lnTo>
                <a:lnTo>
                  <a:pt x="229225" y="229225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5" name="Freeform: Shape 14">
            <a:extLst>
              <a:ext uri="{FF2B5EF4-FFF2-40B4-BE49-F238E27FC236}">
                <a16:creationId xmlns:a16="http://schemas.microsoft.com/office/drawing/2014/main" id="{21F80726-C152-3300-2461-342DFD30CF4F}"/>
              </a:ext>
            </a:extLst>
          </p:cNvPr>
          <p:cNvSpPr/>
          <p:nvPr/>
        </p:nvSpPr>
        <p:spPr>
          <a:xfrm>
            <a:off x="2346901" y="4691819"/>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br>
              <a:rPr lang="fr-FR" sz="2300" kern="1200" dirty="0"/>
            </a:br>
            <a:r>
              <a:rPr lang="fr-FR" sz="2300" kern="1200" dirty="0"/>
              <a:t>2 862 €</a:t>
            </a:r>
          </a:p>
        </p:txBody>
      </p:sp>
      <p:sp>
        <p:nvSpPr>
          <p:cNvPr id="17" name="Freeform: Shape 16">
            <a:extLst>
              <a:ext uri="{FF2B5EF4-FFF2-40B4-BE49-F238E27FC236}">
                <a16:creationId xmlns:a16="http://schemas.microsoft.com/office/drawing/2014/main" id="{5776486F-4016-5BD7-07CD-BD18CB792DA0}"/>
              </a:ext>
            </a:extLst>
          </p:cNvPr>
          <p:cNvSpPr/>
          <p:nvPr/>
        </p:nvSpPr>
        <p:spPr>
          <a:xfrm>
            <a:off x="7172397"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08000" tIns="88179" rIns="115484" bIns="88179" numCol="1" spcCol="1270" anchor="ctr" anchorCtr="0">
            <a:noAutofit/>
          </a:bodyPr>
          <a:lstStyle/>
          <a:p>
            <a:pPr marL="0" lvl="0" indent="0" defTabSz="1911350">
              <a:lnSpc>
                <a:spcPct val="90000"/>
              </a:lnSpc>
              <a:spcBef>
                <a:spcPct val="0"/>
              </a:spcBef>
              <a:spcAft>
                <a:spcPct val="35000"/>
              </a:spcAft>
              <a:buNone/>
            </a:pPr>
            <a:r>
              <a:rPr lang="fr-FR" sz="2800" kern="1200" dirty="0"/>
              <a:t>Hommes</a:t>
            </a:r>
          </a:p>
        </p:txBody>
      </p:sp>
      <p:sp>
        <p:nvSpPr>
          <p:cNvPr id="18" name="Freeform: Shape 17">
            <a:extLst>
              <a:ext uri="{FF2B5EF4-FFF2-40B4-BE49-F238E27FC236}">
                <a16:creationId xmlns:a16="http://schemas.microsoft.com/office/drawing/2014/main" id="{67ECE49E-04B1-0739-9091-B8DBB48E7143}"/>
              </a:ext>
            </a:extLst>
          </p:cNvPr>
          <p:cNvSpPr/>
          <p:nvPr/>
        </p:nvSpPr>
        <p:spPr>
          <a:xfrm>
            <a:off x="7401623" y="2972630"/>
            <a:ext cx="229225" cy="859594"/>
          </a:xfrm>
          <a:custGeom>
            <a:avLst/>
            <a:gdLst/>
            <a:ahLst/>
            <a:cxnLst/>
            <a:rect l="0" t="0" r="0" b="0"/>
            <a:pathLst>
              <a:path>
                <a:moveTo>
                  <a:pt x="0" y="0"/>
                </a:moveTo>
                <a:lnTo>
                  <a:pt x="0" y="859594"/>
                </a:lnTo>
                <a:lnTo>
                  <a:pt x="229225" y="859594"/>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9" name="Freeform: Shape 18">
            <a:extLst>
              <a:ext uri="{FF2B5EF4-FFF2-40B4-BE49-F238E27FC236}">
                <a16:creationId xmlns:a16="http://schemas.microsoft.com/office/drawing/2014/main" id="{4216FA7E-578D-1D87-0AD5-E5241BE394E6}"/>
              </a:ext>
            </a:extLst>
          </p:cNvPr>
          <p:cNvSpPr/>
          <p:nvPr/>
        </p:nvSpPr>
        <p:spPr>
          <a:xfrm>
            <a:off x="7630848" y="3259162"/>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a:t>
            </a:r>
            <a:br>
              <a:rPr lang="fr-FR" sz="2300" kern="1200" dirty="0"/>
            </a:br>
            <a:r>
              <a:rPr lang="fr-FR" sz="2300" kern="1200" dirty="0"/>
              <a:t>5 839 €</a:t>
            </a:r>
          </a:p>
        </p:txBody>
      </p:sp>
      <p:sp>
        <p:nvSpPr>
          <p:cNvPr id="20" name="Freeform: Shape 19">
            <a:extLst>
              <a:ext uri="{FF2B5EF4-FFF2-40B4-BE49-F238E27FC236}">
                <a16:creationId xmlns:a16="http://schemas.microsoft.com/office/drawing/2014/main" id="{F94026BE-0A34-6227-21F6-856E5A03309F}"/>
              </a:ext>
            </a:extLst>
          </p:cNvPr>
          <p:cNvSpPr/>
          <p:nvPr/>
        </p:nvSpPr>
        <p:spPr>
          <a:xfrm>
            <a:off x="7401623" y="2972630"/>
            <a:ext cx="229225" cy="2292250"/>
          </a:xfrm>
          <a:custGeom>
            <a:avLst/>
            <a:gdLst/>
            <a:ahLst/>
            <a:cxnLst/>
            <a:rect l="0" t="0" r="0" b="0"/>
            <a:pathLst>
              <a:path>
                <a:moveTo>
                  <a:pt x="0" y="0"/>
                </a:moveTo>
                <a:lnTo>
                  <a:pt x="0" y="2292250"/>
                </a:lnTo>
                <a:lnTo>
                  <a:pt x="229225" y="2292250"/>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21" name="Freeform: Shape 20">
            <a:extLst>
              <a:ext uri="{FF2B5EF4-FFF2-40B4-BE49-F238E27FC236}">
                <a16:creationId xmlns:a16="http://schemas.microsoft.com/office/drawing/2014/main" id="{CC9C5696-969F-E711-2478-5BE2939B56B4}"/>
              </a:ext>
            </a:extLst>
          </p:cNvPr>
          <p:cNvSpPr/>
          <p:nvPr/>
        </p:nvSpPr>
        <p:spPr>
          <a:xfrm>
            <a:off x="7630848" y="4691819"/>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br>
              <a:rPr lang="fr-FR" sz="2300" kern="1200" dirty="0"/>
            </a:br>
            <a:r>
              <a:rPr lang="fr-FR" sz="2300" kern="1200" dirty="0"/>
              <a:t>3 335 €</a:t>
            </a:r>
          </a:p>
        </p:txBody>
      </p:sp>
      <p:sp>
        <p:nvSpPr>
          <p:cNvPr id="8" name="Rectangle 1">
            <a:extLst>
              <a:ext uri="{FF2B5EF4-FFF2-40B4-BE49-F238E27FC236}">
                <a16:creationId xmlns:a16="http://schemas.microsoft.com/office/drawing/2014/main" id="{4496E95D-4DFC-888A-892B-DB55A1E05B10}"/>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3" name="ZoneTexte 2">
            <a:extLst>
              <a:ext uri="{FF2B5EF4-FFF2-40B4-BE49-F238E27FC236}">
                <a16:creationId xmlns:a16="http://schemas.microsoft.com/office/drawing/2014/main" id="{6E175EF8-39DD-D01E-C4A1-E6BC77EDC616}"/>
              </a:ext>
            </a:extLst>
          </p:cNvPr>
          <p:cNvSpPr txBox="1"/>
          <p:nvPr/>
        </p:nvSpPr>
        <p:spPr>
          <a:xfrm>
            <a:off x="5098774" y="6362069"/>
            <a:ext cx="4623955" cy="261610"/>
          </a:xfrm>
          <a:prstGeom prst="rect">
            <a:avLst/>
          </a:prstGeom>
          <a:noFill/>
        </p:spPr>
        <p:txBody>
          <a:bodyPr wrap="square" rtlCol="0">
            <a:spAutoFit/>
          </a:bodyPr>
          <a:lstStyle/>
          <a:p>
            <a:r>
              <a:rPr lang="fr-FR" sz="1100" dirty="0"/>
              <a:t>Données au 11/11/2025 : </a:t>
            </a:r>
            <a:r>
              <a:rPr lang="fr-FR" sz="1100" dirty="0">
                <a:hlinkClick r:id="rId2"/>
              </a:rPr>
              <a:t>https://themia.pro/</a:t>
            </a:r>
            <a:r>
              <a:rPr lang="fr-FR" sz="1100" dirty="0"/>
              <a:t>  </a:t>
            </a:r>
          </a:p>
        </p:txBody>
      </p:sp>
      <p:pic>
        <p:nvPicPr>
          <p:cNvPr id="23" name="Graphic 22" descr="Female Profile outline">
            <a:extLst>
              <a:ext uri="{FF2B5EF4-FFF2-40B4-BE49-F238E27FC236}">
                <a16:creationId xmlns:a16="http://schemas.microsoft.com/office/drawing/2014/main" id="{314E28D1-5BC9-ED35-A793-DE0864EBE2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200" y="1942368"/>
            <a:ext cx="914400" cy="914400"/>
          </a:xfrm>
          <a:prstGeom prst="rect">
            <a:avLst/>
          </a:prstGeom>
        </p:spPr>
      </p:pic>
      <p:pic>
        <p:nvPicPr>
          <p:cNvPr id="25" name="Graphic 24" descr="Male profile outline">
            <a:extLst>
              <a:ext uri="{FF2B5EF4-FFF2-40B4-BE49-F238E27FC236}">
                <a16:creationId xmlns:a16="http://schemas.microsoft.com/office/drawing/2014/main" id="{2812EF03-6CB3-E4D2-DFF4-BFB17F8584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5584" y="1944370"/>
            <a:ext cx="914400" cy="914400"/>
          </a:xfrm>
          <a:prstGeom prst="rect">
            <a:avLst/>
          </a:prstGeom>
        </p:spPr>
      </p:pic>
    </p:spTree>
    <p:extLst>
      <p:ext uri="{BB962C8B-B14F-4D97-AF65-F5344CB8AC3E}">
        <p14:creationId xmlns:p14="http://schemas.microsoft.com/office/powerpoint/2010/main" val="29296543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E54D76-F346-D8CD-F923-6ED8B05F5A37}"/>
              </a:ext>
            </a:extLst>
          </p:cNvPr>
          <p:cNvSpPr>
            <a:spLocks noGrp="1"/>
          </p:cNvSpPr>
          <p:nvPr>
            <p:ph type="title"/>
          </p:nvPr>
        </p:nvSpPr>
        <p:spPr/>
        <p:txBody>
          <a:bodyPr/>
          <a:lstStyle/>
          <a:p>
            <a:r>
              <a:rPr lang="fr-FR" dirty="0"/>
              <a:t>Préjudice d’agrément, les femmes et les hommes (CA)</a:t>
            </a:r>
          </a:p>
        </p:txBody>
      </p:sp>
      <p:sp>
        <p:nvSpPr>
          <p:cNvPr id="8" name="Rectangle 1">
            <a:extLst>
              <a:ext uri="{FF2B5EF4-FFF2-40B4-BE49-F238E27FC236}">
                <a16:creationId xmlns:a16="http://schemas.microsoft.com/office/drawing/2014/main" id="{845E1B0F-704D-0A0F-C500-1B195B4FC47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11" name="ZoneTexte 10">
            <a:extLst>
              <a:ext uri="{FF2B5EF4-FFF2-40B4-BE49-F238E27FC236}">
                <a16:creationId xmlns:a16="http://schemas.microsoft.com/office/drawing/2014/main" id="{5A674AE2-B5AD-5E1E-3CEF-88A4A5FEE4AB}"/>
              </a:ext>
            </a:extLst>
          </p:cNvPr>
          <p:cNvSpPr txBox="1"/>
          <p:nvPr/>
        </p:nvSpPr>
        <p:spPr>
          <a:xfrm>
            <a:off x="3753919" y="6176963"/>
            <a:ext cx="4684162" cy="369332"/>
          </a:xfrm>
          <a:prstGeom prst="rect">
            <a:avLst/>
          </a:prstGeom>
          <a:noFill/>
        </p:spPr>
        <p:txBody>
          <a:bodyPr wrap="square" rtlCol="0">
            <a:spAutoFit/>
          </a:bodyPr>
          <a:lstStyle/>
          <a:p>
            <a:pPr algn="ctr"/>
            <a:r>
              <a:rPr lang="fr-FR" dirty="0"/>
              <a:t>Rq : DFP moyen femmes : 16%, hommes : 21%</a:t>
            </a:r>
          </a:p>
        </p:txBody>
      </p:sp>
      <p:sp>
        <p:nvSpPr>
          <p:cNvPr id="12" name="ZoneTexte 11">
            <a:extLst>
              <a:ext uri="{FF2B5EF4-FFF2-40B4-BE49-F238E27FC236}">
                <a16:creationId xmlns:a16="http://schemas.microsoft.com/office/drawing/2014/main" id="{DDB60168-0BBF-CB23-AE19-921B0BD4BB95}"/>
              </a:ext>
            </a:extLst>
          </p:cNvPr>
          <p:cNvSpPr txBox="1"/>
          <p:nvPr/>
        </p:nvSpPr>
        <p:spPr>
          <a:xfrm>
            <a:off x="3784023" y="6609090"/>
            <a:ext cx="4623955" cy="261610"/>
          </a:xfrm>
          <a:prstGeom prst="rect">
            <a:avLst/>
          </a:prstGeom>
          <a:noFill/>
        </p:spPr>
        <p:txBody>
          <a:bodyPr wrap="square" rtlCol="0">
            <a:spAutoFit/>
          </a:bodyPr>
          <a:lstStyle/>
          <a:p>
            <a:pPr algn="ctr"/>
            <a:r>
              <a:rPr lang="fr-FR" sz="1100" dirty="0"/>
              <a:t>Données au 11/11/2025 : </a:t>
            </a:r>
            <a:r>
              <a:rPr lang="fr-FR" sz="1100" dirty="0">
                <a:hlinkClick r:id="rId2"/>
              </a:rPr>
              <a:t>https://themia.pro/</a:t>
            </a:r>
            <a:r>
              <a:rPr lang="fr-FR" sz="1100" dirty="0"/>
              <a:t>  </a:t>
            </a:r>
          </a:p>
        </p:txBody>
      </p:sp>
      <p:sp>
        <p:nvSpPr>
          <p:cNvPr id="3" name="Freeform: Shape 2">
            <a:extLst>
              <a:ext uri="{FF2B5EF4-FFF2-40B4-BE49-F238E27FC236}">
                <a16:creationId xmlns:a16="http://schemas.microsoft.com/office/drawing/2014/main" id="{A4EE64A9-9F61-3D28-11BD-F2688AB8C35C}"/>
              </a:ext>
            </a:extLst>
          </p:cNvPr>
          <p:cNvSpPr/>
          <p:nvPr/>
        </p:nvSpPr>
        <p:spPr>
          <a:xfrm>
            <a:off x="1888450"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90719" rIns="119294" bIns="90719" numCol="1" spcCol="1270" anchor="ctr" anchorCtr="0">
            <a:noAutofit/>
          </a:bodyPr>
          <a:lstStyle/>
          <a:p>
            <a:pPr marL="0" lvl="0" indent="0" defTabSz="2000250">
              <a:lnSpc>
                <a:spcPct val="90000"/>
              </a:lnSpc>
              <a:spcBef>
                <a:spcPct val="0"/>
              </a:spcBef>
              <a:spcAft>
                <a:spcPct val="35000"/>
              </a:spcAft>
              <a:buNone/>
            </a:pPr>
            <a:r>
              <a:rPr lang="fr-FR" sz="3200" kern="1200" dirty="0"/>
              <a:t>Femmes</a:t>
            </a:r>
          </a:p>
        </p:txBody>
      </p:sp>
      <p:sp>
        <p:nvSpPr>
          <p:cNvPr id="4" name="Freeform: Shape 3">
            <a:extLst>
              <a:ext uri="{FF2B5EF4-FFF2-40B4-BE49-F238E27FC236}">
                <a16:creationId xmlns:a16="http://schemas.microsoft.com/office/drawing/2014/main" id="{D0154B0D-2BE4-9694-B909-DAF26AD1B4FD}"/>
              </a:ext>
            </a:extLst>
          </p:cNvPr>
          <p:cNvSpPr/>
          <p:nvPr/>
        </p:nvSpPr>
        <p:spPr>
          <a:xfrm>
            <a:off x="2117676" y="2972630"/>
            <a:ext cx="229225" cy="859594"/>
          </a:xfrm>
          <a:custGeom>
            <a:avLst/>
            <a:gdLst/>
            <a:ahLst/>
            <a:cxnLst/>
            <a:rect l="0" t="0" r="0" b="0"/>
            <a:pathLst>
              <a:path>
                <a:moveTo>
                  <a:pt x="0" y="0"/>
                </a:moveTo>
                <a:lnTo>
                  <a:pt x="0" y="859594"/>
                </a:lnTo>
                <a:lnTo>
                  <a:pt x="229225" y="85959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5" name="Freeform: Shape 4">
            <a:extLst>
              <a:ext uri="{FF2B5EF4-FFF2-40B4-BE49-F238E27FC236}">
                <a16:creationId xmlns:a16="http://schemas.microsoft.com/office/drawing/2014/main" id="{389851AF-811E-896F-CC18-B5777F19E52F}"/>
              </a:ext>
            </a:extLst>
          </p:cNvPr>
          <p:cNvSpPr/>
          <p:nvPr/>
        </p:nvSpPr>
        <p:spPr>
          <a:xfrm>
            <a:off x="2346901" y="3259162"/>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12 440 €</a:t>
            </a:r>
          </a:p>
        </p:txBody>
      </p:sp>
      <p:sp>
        <p:nvSpPr>
          <p:cNvPr id="6" name="Freeform: Shape 5">
            <a:extLst>
              <a:ext uri="{FF2B5EF4-FFF2-40B4-BE49-F238E27FC236}">
                <a16:creationId xmlns:a16="http://schemas.microsoft.com/office/drawing/2014/main" id="{2AAD6B70-D42C-0EB8-4C71-8D770FB80F17}"/>
              </a:ext>
            </a:extLst>
          </p:cNvPr>
          <p:cNvSpPr/>
          <p:nvPr/>
        </p:nvSpPr>
        <p:spPr>
          <a:xfrm>
            <a:off x="2117676" y="2972630"/>
            <a:ext cx="229225" cy="2292250"/>
          </a:xfrm>
          <a:custGeom>
            <a:avLst/>
            <a:gdLst/>
            <a:ahLst/>
            <a:cxnLst/>
            <a:rect l="0" t="0" r="0" b="0"/>
            <a:pathLst>
              <a:path>
                <a:moveTo>
                  <a:pt x="0" y="0"/>
                </a:moveTo>
                <a:lnTo>
                  <a:pt x="0" y="2292250"/>
                </a:lnTo>
                <a:lnTo>
                  <a:pt x="229225" y="229225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7" name="Freeform: Shape 6">
            <a:extLst>
              <a:ext uri="{FF2B5EF4-FFF2-40B4-BE49-F238E27FC236}">
                <a16:creationId xmlns:a16="http://schemas.microsoft.com/office/drawing/2014/main" id="{949FA79D-F772-32BA-5275-2D56F0A35FC1}"/>
              </a:ext>
            </a:extLst>
          </p:cNvPr>
          <p:cNvSpPr/>
          <p:nvPr/>
        </p:nvSpPr>
        <p:spPr>
          <a:xfrm>
            <a:off x="2346901" y="4691819"/>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6 696 €</a:t>
            </a:r>
          </a:p>
        </p:txBody>
      </p:sp>
      <p:sp>
        <p:nvSpPr>
          <p:cNvPr id="13" name="Freeform: Shape 12">
            <a:extLst>
              <a:ext uri="{FF2B5EF4-FFF2-40B4-BE49-F238E27FC236}">
                <a16:creationId xmlns:a16="http://schemas.microsoft.com/office/drawing/2014/main" id="{D3FBBB0E-DD2C-5BC9-01AE-7CEB2B23C564}"/>
              </a:ext>
            </a:extLst>
          </p:cNvPr>
          <p:cNvSpPr/>
          <p:nvPr/>
        </p:nvSpPr>
        <p:spPr>
          <a:xfrm>
            <a:off x="7172397"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08000" tIns="88179" rIns="115484" bIns="88179" numCol="1" spcCol="1270" anchor="ctr" anchorCtr="0">
            <a:noAutofit/>
          </a:bodyPr>
          <a:lstStyle/>
          <a:p>
            <a:pPr marL="0" lvl="0" indent="0" defTabSz="1911350">
              <a:lnSpc>
                <a:spcPct val="90000"/>
              </a:lnSpc>
              <a:spcBef>
                <a:spcPct val="0"/>
              </a:spcBef>
              <a:spcAft>
                <a:spcPct val="35000"/>
              </a:spcAft>
              <a:buNone/>
            </a:pPr>
            <a:r>
              <a:rPr lang="fr-FR" sz="2800" kern="1200" dirty="0"/>
              <a:t>Hommes</a:t>
            </a:r>
          </a:p>
        </p:txBody>
      </p:sp>
      <p:sp>
        <p:nvSpPr>
          <p:cNvPr id="14" name="Freeform: Shape 13">
            <a:extLst>
              <a:ext uri="{FF2B5EF4-FFF2-40B4-BE49-F238E27FC236}">
                <a16:creationId xmlns:a16="http://schemas.microsoft.com/office/drawing/2014/main" id="{314DDA9F-B101-8C00-FBF6-B2E3816257FC}"/>
              </a:ext>
            </a:extLst>
          </p:cNvPr>
          <p:cNvSpPr/>
          <p:nvPr/>
        </p:nvSpPr>
        <p:spPr>
          <a:xfrm>
            <a:off x="7401623" y="2972630"/>
            <a:ext cx="229225" cy="859594"/>
          </a:xfrm>
          <a:custGeom>
            <a:avLst/>
            <a:gdLst/>
            <a:ahLst/>
            <a:cxnLst/>
            <a:rect l="0" t="0" r="0" b="0"/>
            <a:pathLst>
              <a:path>
                <a:moveTo>
                  <a:pt x="0" y="0"/>
                </a:moveTo>
                <a:lnTo>
                  <a:pt x="0" y="859594"/>
                </a:lnTo>
                <a:lnTo>
                  <a:pt x="229225" y="859594"/>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5" name="Freeform: Shape 14">
            <a:extLst>
              <a:ext uri="{FF2B5EF4-FFF2-40B4-BE49-F238E27FC236}">
                <a16:creationId xmlns:a16="http://schemas.microsoft.com/office/drawing/2014/main" id="{0C890B2E-BCAE-BA7C-7447-3E0A9CF7EF4F}"/>
              </a:ext>
            </a:extLst>
          </p:cNvPr>
          <p:cNvSpPr/>
          <p:nvPr/>
        </p:nvSpPr>
        <p:spPr>
          <a:xfrm>
            <a:off x="7630848" y="3259162"/>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15 257 €</a:t>
            </a:r>
          </a:p>
        </p:txBody>
      </p:sp>
      <p:sp>
        <p:nvSpPr>
          <p:cNvPr id="16" name="Freeform: Shape 15">
            <a:extLst>
              <a:ext uri="{FF2B5EF4-FFF2-40B4-BE49-F238E27FC236}">
                <a16:creationId xmlns:a16="http://schemas.microsoft.com/office/drawing/2014/main" id="{71BCAF5C-EF33-487A-B32F-18C426D1C75E}"/>
              </a:ext>
            </a:extLst>
          </p:cNvPr>
          <p:cNvSpPr/>
          <p:nvPr/>
        </p:nvSpPr>
        <p:spPr>
          <a:xfrm>
            <a:off x="7401623" y="2972630"/>
            <a:ext cx="229225" cy="2292250"/>
          </a:xfrm>
          <a:custGeom>
            <a:avLst/>
            <a:gdLst/>
            <a:ahLst/>
            <a:cxnLst/>
            <a:rect l="0" t="0" r="0" b="0"/>
            <a:pathLst>
              <a:path>
                <a:moveTo>
                  <a:pt x="0" y="0"/>
                </a:moveTo>
                <a:lnTo>
                  <a:pt x="0" y="2292250"/>
                </a:lnTo>
                <a:lnTo>
                  <a:pt x="229225" y="2292250"/>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7" name="Freeform: Shape 16">
            <a:extLst>
              <a:ext uri="{FF2B5EF4-FFF2-40B4-BE49-F238E27FC236}">
                <a16:creationId xmlns:a16="http://schemas.microsoft.com/office/drawing/2014/main" id="{4EA752BB-A19D-7411-5997-5DD8969442A4}"/>
              </a:ext>
            </a:extLst>
          </p:cNvPr>
          <p:cNvSpPr/>
          <p:nvPr/>
        </p:nvSpPr>
        <p:spPr>
          <a:xfrm>
            <a:off x="7630848" y="4691819"/>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8 008 €</a:t>
            </a:r>
          </a:p>
        </p:txBody>
      </p:sp>
      <p:pic>
        <p:nvPicPr>
          <p:cNvPr id="18" name="Graphic 17" descr="Female Profile outline">
            <a:extLst>
              <a:ext uri="{FF2B5EF4-FFF2-40B4-BE49-F238E27FC236}">
                <a16:creationId xmlns:a16="http://schemas.microsoft.com/office/drawing/2014/main" id="{3C360533-EFC3-10EC-C3D7-835003248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200" y="1942368"/>
            <a:ext cx="914400" cy="914400"/>
          </a:xfrm>
          <a:prstGeom prst="rect">
            <a:avLst/>
          </a:prstGeom>
        </p:spPr>
      </p:pic>
      <p:pic>
        <p:nvPicPr>
          <p:cNvPr id="19" name="Graphic 18" descr="Male profile outline">
            <a:extLst>
              <a:ext uri="{FF2B5EF4-FFF2-40B4-BE49-F238E27FC236}">
                <a16:creationId xmlns:a16="http://schemas.microsoft.com/office/drawing/2014/main" id="{4B30AC0B-E07E-EA6E-FD36-288050AEA0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5584" y="1944370"/>
            <a:ext cx="914400" cy="914400"/>
          </a:xfrm>
          <a:prstGeom prst="rect">
            <a:avLst/>
          </a:prstGeom>
        </p:spPr>
      </p:pic>
    </p:spTree>
    <p:extLst>
      <p:ext uri="{BB962C8B-B14F-4D97-AF65-F5344CB8AC3E}">
        <p14:creationId xmlns:p14="http://schemas.microsoft.com/office/powerpoint/2010/main" val="30569255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760D3-2A6C-46F0-C45F-D3A67677D9F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604033D-0CE6-4BE5-C054-EC0AFF105A12}"/>
              </a:ext>
            </a:extLst>
          </p:cNvPr>
          <p:cNvSpPr>
            <a:spLocks noGrp="1"/>
          </p:cNvSpPr>
          <p:nvPr>
            <p:ph type="title"/>
          </p:nvPr>
        </p:nvSpPr>
        <p:spPr/>
        <p:txBody>
          <a:bodyPr/>
          <a:lstStyle/>
          <a:p>
            <a:r>
              <a:rPr lang="fr-FR" dirty="0"/>
              <a:t>Préjudice sexuel, les femmes et les hommes (CA)</a:t>
            </a:r>
          </a:p>
        </p:txBody>
      </p:sp>
      <p:sp>
        <p:nvSpPr>
          <p:cNvPr id="8" name="Rectangle 1">
            <a:extLst>
              <a:ext uri="{FF2B5EF4-FFF2-40B4-BE49-F238E27FC236}">
                <a16:creationId xmlns:a16="http://schemas.microsoft.com/office/drawing/2014/main" id="{E638FF42-34AE-443D-10A5-B6A54EA8FB12}"/>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4" name="ZoneTexte 3">
            <a:extLst>
              <a:ext uri="{FF2B5EF4-FFF2-40B4-BE49-F238E27FC236}">
                <a16:creationId xmlns:a16="http://schemas.microsoft.com/office/drawing/2014/main" id="{F44CCAB1-1572-64DF-A1D2-F9EEC298C184}"/>
              </a:ext>
            </a:extLst>
          </p:cNvPr>
          <p:cNvSpPr txBox="1"/>
          <p:nvPr/>
        </p:nvSpPr>
        <p:spPr>
          <a:xfrm>
            <a:off x="5098774" y="6362069"/>
            <a:ext cx="4623955" cy="261610"/>
          </a:xfrm>
          <a:prstGeom prst="rect">
            <a:avLst/>
          </a:prstGeom>
          <a:noFill/>
        </p:spPr>
        <p:txBody>
          <a:bodyPr wrap="square" rtlCol="0">
            <a:spAutoFit/>
          </a:bodyPr>
          <a:lstStyle/>
          <a:p>
            <a:r>
              <a:rPr lang="fr-FR" sz="1100" dirty="0"/>
              <a:t>Données au 11/11/2025 : </a:t>
            </a:r>
            <a:r>
              <a:rPr lang="fr-FR" sz="1100" dirty="0">
                <a:hlinkClick r:id="rId2"/>
              </a:rPr>
              <a:t>https://themia.pro/</a:t>
            </a:r>
            <a:r>
              <a:rPr lang="fr-FR" sz="1100" dirty="0"/>
              <a:t>  </a:t>
            </a:r>
          </a:p>
        </p:txBody>
      </p:sp>
      <p:sp>
        <p:nvSpPr>
          <p:cNvPr id="3" name="Freeform: Shape 2">
            <a:extLst>
              <a:ext uri="{FF2B5EF4-FFF2-40B4-BE49-F238E27FC236}">
                <a16:creationId xmlns:a16="http://schemas.microsoft.com/office/drawing/2014/main" id="{B032CED6-C9CD-9B4E-1748-DAC183E0CF6A}"/>
              </a:ext>
            </a:extLst>
          </p:cNvPr>
          <p:cNvSpPr/>
          <p:nvPr/>
        </p:nvSpPr>
        <p:spPr>
          <a:xfrm>
            <a:off x="1888450"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90719" rIns="119294" bIns="90719" numCol="1" spcCol="1270" anchor="ctr" anchorCtr="0">
            <a:noAutofit/>
          </a:bodyPr>
          <a:lstStyle/>
          <a:p>
            <a:pPr marL="0" lvl="0" indent="0" defTabSz="2000250">
              <a:lnSpc>
                <a:spcPct val="90000"/>
              </a:lnSpc>
              <a:spcBef>
                <a:spcPct val="0"/>
              </a:spcBef>
              <a:spcAft>
                <a:spcPct val="35000"/>
              </a:spcAft>
              <a:buNone/>
            </a:pPr>
            <a:r>
              <a:rPr lang="fr-FR" sz="3200" kern="1200" dirty="0"/>
              <a:t>Femmes</a:t>
            </a:r>
          </a:p>
        </p:txBody>
      </p:sp>
      <p:sp>
        <p:nvSpPr>
          <p:cNvPr id="5" name="Freeform: Shape 4">
            <a:extLst>
              <a:ext uri="{FF2B5EF4-FFF2-40B4-BE49-F238E27FC236}">
                <a16:creationId xmlns:a16="http://schemas.microsoft.com/office/drawing/2014/main" id="{05EADB83-557C-95B6-33B9-B698532F48B0}"/>
              </a:ext>
            </a:extLst>
          </p:cNvPr>
          <p:cNvSpPr/>
          <p:nvPr/>
        </p:nvSpPr>
        <p:spPr>
          <a:xfrm>
            <a:off x="2117676" y="2972630"/>
            <a:ext cx="229225" cy="859594"/>
          </a:xfrm>
          <a:custGeom>
            <a:avLst/>
            <a:gdLst/>
            <a:ahLst/>
            <a:cxnLst/>
            <a:rect l="0" t="0" r="0" b="0"/>
            <a:pathLst>
              <a:path>
                <a:moveTo>
                  <a:pt x="0" y="0"/>
                </a:moveTo>
                <a:lnTo>
                  <a:pt x="0" y="859594"/>
                </a:lnTo>
                <a:lnTo>
                  <a:pt x="229225" y="85959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6" name="Freeform: Shape 5">
            <a:extLst>
              <a:ext uri="{FF2B5EF4-FFF2-40B4-BE49-F238E27FC236}">
                <a16:creationId xmlns:a16="http://schemas.microsoft.com/office/drawing/2014/main" id="{719CF6D6-0EE0-ADA5-06A5-B357131DD21C}"/>
              </a:ext>
            </a:extLst>
          </p:cNvPr>
          <p:cNvSpPr/>
          <p:nvPr/>
        </p:nvSpPr>
        <p:spPr>
          <a:xfrm>
            <a:off x="2346901" y="3259162"/>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13 806 €</a:t>
            </a:r>
          </a:p>
        </p:txBody>
      </p:sp>
      <p:sp>
        <p:nvSpPr>
          <p:cNvPr id="7" name="Freeform: Shape 6">
            <a:extLst>
              <a:ext uri="{FF2B5EF4-FFF2-40B4-BE49-F238E27FC236}">
                <a16:creationId xmlns:a16="http://schemas.microsoft.com/office/drawing/2014/main" id="{6B61190B-446D-56EC-3C2F-E3878B4CDD68}"/>
              </a:ext>
            </a:extLst>
          </p:cNvPr>
          <p:cNvSpPr/>
          <p:nvPr/>
        </p:nvSpPr>
        <p:spPr>
          <a:xfrm>
            <a:off x="2117676" y="2972630"/>
            <a:ext cx="229225" cy="2292250"/>
          </a:xfrm>
          <a:custGeom>
            <a:avLst/>
            <a:gdLst/>
            <a:ahLst/>
            <a:cxnLst/>
            <a:rect l="0" t="0" r="0" b="0"/>
            <a:pathLst>
              <a:path>
                <a:moveTo>
                  <a:pt x="0" y="0"/>
                </a:moveTo>
                <a:lnTo>
                  <a:pt x="0" y="2292250"/>
                </a:lnTo>
                <a:lnTo>
                  <a:pt x="229225" y="229225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1" name="Freeform: Shape 10">
            <a:extLst>
              <a:ext uri="{FF2B5EF4-FFF2-40B4-BE49-F238E27FC236}">
                <a16:creationId xmlns:a16="http://schemas.microsoft.com/office/drawing/2014/main" id="{9151D3BB-55C1-BAB0-F2B4-DE7CBD325A77}"/>
              </a:ext>
            </a:extLst>
          </p:cNvPr>
          <p:cNvSpPr/>
          <p:nvPr/>
        </p:nvSpPr>
        <p:spPr>
          <a:xfrm>
            <a:off x="2346901" y="4691819"/>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7 212 €</a:t>
            </a:r>
          </a:p>
        </p:txBody>
      </p:sp>
      <p:sp>
        <p:nvSpPr>
          <p:cNvPr id="12" name="Freeform: Shape 11">
            <a:extLst>
              <a:ext uri="{FF2B5EF4-FFF2-40B4-BE49-F238E27FC236}">
                <a16:creationId xmlns:a16="http://schemas.microsoft.com/office/drawing/2014/main" id="{55223430-2BDB-6322-6152-A3BE94711D30}"/>
              </a:ext>
            </a:extLst>
          </p:cNvPr>
          <p:cNvSpPr/>
          <p:nvPr/>
        </p:nvSpPr>
        <p:spPr>
          <a:xfrm>
            <a:off x="7172397"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08000" tIns="88179" rIns="115484" bIns="88179" numCol="1" spcCol="1270" anchor="ctr" anchorCtr="0">
            <a:noAutofit/>
          </a:bodyPr>
          <a:lstStyle/>
          <a:p>
            <a:pPr marL="0" lvl="0" indent="0" defTabSz="1911350">
              <a:lnSpc>
                <a:spcPct val="90000"/>
              </a:lnSpc>
              <a:spcBef>
                <a:spcPct val="0"/>
              </a:spcBef>
              <a:spcAft>
                <a:spcPct val="35000"/>
              </a:spcAft>
              <a:buNone/>
            </a:pPr>
            <a:r>
              <a:rPr lang="fr-FR" sz="2800" kern="1200" dirty="0"/>
              <a:t>Hommes</a:t>
            </a:r>
          </a:p>
        </p:txBody>
      </p:sp>
      <p:sp>
        <p:nvSpPr>
          <p:cNvPr id="13" name="Freeform: Shape 12">
            <a:extLst>
              <a:ext uri="{FF2B5EF4-FFF2-40B4-BE49-F238E27FC236}">
                <a16:creationId xmlns:a16="http://schemas.microsoft.com/office/drawing/2014/main" id="{83F3825C-E965-0C3A-254D-C534FC8192F4}"/>
              </a:ext>
            </a:extLst>
          </p:cNvPr>
          <p:cNvSpPr/>
          <p:nvPr/>
        </p:nvSpPr>
        <p:spPr>
          <a:xfrm>
            <a:off x="7401623" y="2972630"/>
            <a:ext cx="229225" cy="859594"/>
          </a:xfrm>
          <a:custGeom>
            <a:avLst/>
            <a:gdLst/>
            <a:ahLst/>
            <a:cxnLst/>
            <a:rect l="0" t="0" r="0" b="0"/>
            <a:pathLst>
              <a:path>
                <a:moveTo>
                  <a:pt x="0" y="0"/>
                </a:moveTo>
                <a:lnTo>
                  <a:pt x="0" y="859594"/>
                </a:lnTo>
                <a:lnTo>
                  <a:pt x="229225" y="859594"/>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4" name="Freeform: Shape 13">
            <a:extLst>
              <a:ext uri="{FF2B5EF4-FFF2-40B4-BE49-F238E27FC236}">
                <a16:creationId xmlns:a16="http://schemas.microsoft.com/office/drawing/2014/main" id="{09E50EB5-C98E-2772-9855-8ECC32D80B5E}"/>
              </a:ext>
            </a:extLst>
          </p:cNvPr>
          <p:cNvSpPr/>
          <p:nvPr/>
        </p:nvSpPr>
        <p:spPr>
          <a:xfrm>
            <a:off x="7630848" y="3259162"/>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14 774 €</a:t>
            </a:r>
          </a:p>
        </p:txBody>
      </p:sp>
      <p:sp>
        <p:nvSpPr>
          <p:cNvPr id="15" name="Freeform: Shape 14">
            <a:extLst>
              <a:ext uri="{FF2B5EF4-FFF2-40B4-BE49-F238E27FC236}">
                <a16:creationId xmlns:a16="http://schemas.microsoft.com/office/drawing/2014/main" id="{2D15E182-CDF0-66D5-D839-F8D367131C63}"/>
              </a:ext>
            </a:extLst>
          </p:cNvPr>
          <p:cNvSpPr/>
          <p:nvPr/>
        </p:nvSpPr>
        <p:spPr>
          <a:xfrm>
            <a:off x="7401623" y="2972630"/>
            <a:ext cx="229225" cy="2292250"/>
          </a:xfrm>
          <a:custGeom>
            <a:avLst/>
            <a:gdLst/>
            <a:ahLst/>
            <a:cxnLst/>
            <a:rect l="0" t="0" r="0" b="0"/>
            <a:pathLst>
              <a:path>
                <a:moveTo>
                  <a:pt x="0" y="0"/>
                </a:moveTo>
                <a:lnTo>
                  <a:pt x="0" y="2292250"/>
                </a:lnTo>
                <a:lnTo>
                  <a:pt x="229225" y="2292250"/>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6" name="Freeform: Shape 15">
            <a:extLst>
              <a:ext uri="{FF2B5EF4-FFF2-40B4-BE49-F238E27FC236}">
                <a16:creationId xmlns:a16="http://schemas.microsoft.com/office/drawing/2014/main" id="{74C0E6C3-C3AA-69C7-E606-AE2578C19F03}"/>
              </a:ext>
            </a:extLst>
          </p:cNvPr>
          <p:cNvSpPr/>
          <p:nvPr/>
        </p:nvSpPr>
        <p:spPr>
          <a:xfrm>
            <a:off x="7630848" y="4691819"/>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9 792 €</a:t>
            </a:r>
          </a:p>
        </p:txBody>
      </p:sp>
      <p:pic>
        <p:nvPicPr>
          <p:cNvPr id="17" name="Graphic 16" descr="Female Profile outline">
            <a:extLst>
              <a:ext uri="{FF2B5EF4-FFF2-40B4-BE49-F238E27FC236}">
                <a16:creationId xmlns:a16="http://schemas.microsoft.com/office/drawing/2014/main" id="{F49F39BA-FC6D-7577-0F7D-0453568747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200" y="1942368"/>
            <a:ext cx="914400" cy="914400"/>
          </a:xfrm>
          <a:prstGeom prst="rect">
            <a:avLst/>
          </a:prstGeom>
        </p:spPr>
      </p:pic>
      <p:pic>
        <p:nvPicPr>
          <p:cNvPr id="18" name="Graphic 17" descr="Male profile outline">
            <a:extLst>
              <a:ext uri="{FF2B5EF4-FFF2-40B4-BE49-F238E27FC236}">
                <a16:creationId xmlns:a16="http://schemas.microsoft.com/office/drawing/2014/main" id="{33BA313D-AF93-9912-9E9C-5F76E20B0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5584" y="1944370"/>
            <a:ext cx="914400" cy="914400"/>
          </a:xfrm>
          <a:prstGeom prst="rect">
            <a:avLst/>
          </a:prstGeom>
        </p:spPr>
      </p:pic>
    </p:spTree>
    <p:extLst>
      <p:ext uri="{BB962C8B-B14F-4D97-AF65-F5344CB8AC3E}">
        <p14:creationId xmlns:p14="http://schemas.microsoft.com/office/powerpoint/2010/main" val="39524775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FD4FB-1FF8-5327-728C-3F06CB64C58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A600EBD-8808-5C19-CEE3-68041E4BC295}"/>
              </a:ext>
            </a:extLst>
          </p:cNvPr>
          <p:cNvSpPr>
            <a:spLocks noGrp="1"/>
          </p:cNvSpPr>
          <p:nvPr>
            <p:ph type="title"/>
          </p:nvPr>
        </p:nvSpPr>
        <p:spPr/>
        <p:txBody>
          <a:bodyPr/>
          <a:lstStyle/>
          <a:p>
            <a:r>
              <a:rPr lang="fr-FR" dirty="0"/>
              <a:t>Préjudice d’établissement, les femmes et les hommes (CA)</a:t>
            </a:r>
          </a:p>
        </p:txBody>
      </p:sp>
      <p:sp>
        <p:nvSpPr>
          <p:cNvPr id="8" name="Rectangle 1">
            <a:extLst>
              <a:ext uri="{FF2B5EF4-FFF2-40B4-BE49-F238E27FC236}">
                <a16:creationId xmlns:a16="http://schemas.microsoft.com/office/drawing/2014/main" id="{B4B13EBB-8076-0543-C075-CFE5291F35D2}"/>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3" name="ZoneTexte 2">
            <a:extLst>
              <a:ext uri="{FF2B5EF4-FFF2-40B4-BE49-F238E27FC236}">
                <a16:creationId xmlns:a16="http://schemas.microsoft.com/office/drawing/2014/main" id="{B39E3627-C06B-028A-797D-C38CC27013C3}"/>
              </a:ext>
            </a:extLst>
          </p:cNvPr>
          <p:cNvSpPr txBox="1"/>
          <p:nvPr/>
        </p:nvSpPr>
        <p:spPr>
          <a:xfrm>
            <a:off x="5098774" y="6362069"/>
            <a:ext cx="4623955" cy="261610"/>
          </a:xfrm>
          <a:prstGeom prst="rect">
            <a:avLst/>
          </a:prstGeom>
          <a:noFill/>
        </p:spPr>
        <p:txBody>
          <a:bodyPr wrap="square" rtlCol="0">
            <a:spAutoFit/>
          </a:bodyPr>
          <a:lstStyle/>
          <a:p>
            <a:r>
              <a:rPr lang="fr-FR" sz="1100" dirty="0"/>
              <a:t>Données au 11/11/2025 : </a:t>
            </a:r>
            <a:r>
              <a:rPr lang="fr-FR" sz="1100" dirty="0">
                <a:hlinkClick r:id="rId2"/>
              </a:rPr>
              <a:t>https://themia.pro/</a:t>
            </a:r>
            <a:r>
              <a:rPr lang="fr-FR" sz="1100" dirty="0"/>
              <a:t>  </a:t>
            </a:r>
          </a:p>
        </p:txBody>
      </p:sp>
      <p:sp>
        <p:nvSpPr>
          <p:cNvPr id="4" name="Freeform: Shape 3">
            <a:extLst>
              <a:ext uri="{FF2B5EF4-FFF2-40B4-BE49-F238E27FC236}">
                <a16:creationId xmlns:a16="http://schemas.microsoft.com/office/drawing/2014/main" id="{410831E1-6526-3568-EE58-E15D462AF347}"/>
              </a:ext>
            </a:extLst>
          </p:cNvPr>
          <p:cNvSpPr/>
          <p:nvPr/>
        </p:nvSpPr>
        <p:spPr>
          <a:xfrm>
            <a:off x="1888450"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8000" tIns="90719" rIns="119294" bIns="90719" numCol="1" spcCol="1270" anchor="ctr" anchorCtr="0">
            <a:noAutofit/>
          </a:bodyPr>
          <a:lstStyle/>
          <a:p>
            <a:pPr marL="0" lvl="0" indent="0" defTabSz="2000250">
              <a:lnSpc>
                <a:spcPct val="90000"/>
              </a:lnSpc>
              <a:spcBef>
                <a:spcPct val="0"/>
              </a:spcBef>
              <a:spcAft>
                <a:spcPct val="35000"/>
              </a:spcAft>
              <a:buNone/>
            </a:pPr>
            <a:r>
              <a:rPr lang="fr-FR" sz="3200" kern="1200" dirty="0"/>
              <a:t>Femmes</a:t>
            </a:r>
          </a:p>
        </p:txBody>
      </p:sp>
      <p:sp>
        <p:nvSpPr>
          <p:cNvPr id="5" name="Freeform: Shape 4">
            <a:extLst>
              <a:ext uri="{FF2B5EF4-FFF2-40B4-BE49-F238E27FC236}">
                <a16:creationId xmlns:a16="http://schemas.microsoft.com/office/drawing/2014/main" id="{23505ACB-DE50-0CBD-0F81-F7A3EAC09A86}"/>
              </a:ext>
            </a:extLst>
          </p:cNvPr>
          <p:cNvSpPr/>
          <p:nvPr/>
        </p:nvSpPr>
        <p:spPr>
          <a:xfrm>
            <a:off x="2117676" y="2972630"/>
            <a:ext cx="229225" cy="859594"/>
          </a:xfrm>
          <a:custGeom>
            <a:avLst/>
            <a:gdLst/>
            <a:ahLst/>
            <a:cxnLst/>
            <a:rect l="0" t="0" r="0" b="0"/>
            <a:pathLst>
              <a:path>
                <a:moveTo>
                  <a:pt x="0" y="0"/>
                </a:moveTo>
                <a:lnTo>
                  <a:pt x="0" y="859594"/>
                </a:lnTo>
                <a:lnTo>
                  <a:pt x="229225" y="85959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6" name="Freeform: Shape 5">
            <a:extLst>
              <a:ext uri="{FF2B5EF4-FFF2-40B4-BE49-F238E27FC236}">
                <a16:creationId xmlns:a16="http://schemas.microsoft.com/office/drawing/2014/main" id="{C159332C-C160-591B-99D3-8B2DC7AE7BF3}"/>
              </a:ext>
            </a:extLst>
          </p:cNvPr>
          <p:cNvSpPr/>
          <p:nvPr/>
        </p:nvSpPr>
        <p:spPr>
          <a:xfrm>
            <a:off x="2346901" y="3259162"/>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29 247 €</a:t>
            </a:r>
          </a:p>
        </p:txBody>
      </p:sp>
      <p:sp>
        <p:nvSpPr>
          <p:cNvPr id="7" name="Freeform: Shape 6">
            <a:extLst>
              <a:ext uri="{FF2B5EF4-FFF2-40B4-BE49-F238E27FC236}">
                <a16:creationId xmlns:a16="http://schemas.microsoft.com/office/drawing/2014/main" id="{50CE7ABC-3259-4DB9-C2EE-8A0F6F66A23C}"/>
              </a:ext>
            </a:extLst>
          </p:cNvPr>
          <p:cNvSpPr/>
          <p:nvPr/>
        </p:nvSpPr>
        <p:spPr>
          <a:xfrm>
            <a:off x="2117676" y="2972630"/>
            <a:ext cx="229225" cy="2292250"/>
          </a:xfrm>
          <a:custGeom>
            <a:avLst/>
            <a:gdLst/>
            <a:ahLst/>
            <a:cxnLst/>
            <a:rect l="0" t="0" r="0" b="0"/>
            <a:pathLst>
              <a:path>
                <a:moveTo>
                  <a:pt x="0" y="0"/>
                </a:moveTo>
                <a:lnTo>
                  <a:pt x="0" y="2292250"/>
                </a:lnTo>
                <a:lnTo>
                  <a:pt x="229225" y="229225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1" name="Freeform: Shape 10">
            <a:extLst>
              <a:ext uri="{FF2B5EF4-FFF2-40B4-BE49-F238E27FC236}">
                <a16:creationId xmlns:a16="http://schemas.microsoft.com/office/drawing/2014/main" id="{0B0DD516-70D5-7E64-941F-4369160A9047}"/>
              </a:ext>
            </a:extLst>
          </p:cNvPr>
          <p:cNvSpPr/>
          <p:nvPr/>
        </p:nvSpPr>
        <p:spPr>
          <a:xfrm>
            <a:off x="2346901" y="4691819"/>
            <a:ext cx="2622646" cy="1146125"/>
          </a:xfrm>
          <a:custGeom>
            <a:avLst/>
            <a:gdLst>
              <a:gd name="connsiteX0" fmla="*/ 0 w 2622646"/>
              <a:gd name="connsiteY0" fmla="*/ 114613 h 1146125"/>
              <a:gd name="connsiteX1" fmla="*/ 114613 w 2622646"/>
              <a:gd name="connsiteY1" fmla="*/ 0 h 1146125"/>
              <a:gd name="connsiteX2" fmla="*/ 2508034 w 2622646"/>
              <a:gd name="connsiteY2" fmla="*/ 0 h 1146125"/>
              <a:gd name="connsiteX3" fmla="*/ 2622647 w 2622646"/>
              <a:gd name="connsiteY3" fmla="*/ 114613 h 1146125"/>
              <a:gd name="connsiteX4" fmla="*/ 2622646 w 2622646"/>
              <a:gd name="connsiteY4" fmla="*/ 1031513 h 1146125"/>
              <a:gd name="connsiteX5" fmla="*/ 2508033 w 2622646"/>
              <a:gd name="connsiteY5" fmla="*/ 1146126 h 1146125"/>
              <a:gd name="connsiteX6" fmla="*/ 114613 w 2622646"/>
              <a:gd name="connsiteY6" fmla="*/ 1146125 h 1146125"/>
              <a:gd name="connsiteX7" fmla="*/ 0 w 2622646"/>
              <a:gd name="connsiteY7" fmla="*/ 1031512 h 1146125"/>
              <a:gd name="connsiteX8" fmla="*/ 0 w 2622646"/>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646" h="1146125">
                <a:moveTo>
                  <a:pt x="0" y="114613"/>
                </a:moveTo>
                <a:cubicBezTo>
                  <a:pt x="0" y="51314"/>
                  <a:pt x="51314" y="0"/>
                  <a:pt x="114613" y="0"/>
                </a:cubicBezTo>
                <a:lnTo>
                  <a:pt x="2508034" y="0"/>
                </a:lnTo>
                <a:cubicBezTo>
                  <a:pt x="2571333" y="0"/>
                  <a:pt x="2622647" y="51314"/>
                  <a:pt x="2622647" y="114613"/>
                </a:cubicBezTo>
                <a:cubicBezTo>
                  <a:pt x="2622647" y="420246"/>
                  <a:pt x="2622646" y="725880"/>
                  <a:pt x="2622646" y="1031513"/>
                </a:cubicBezTo>
                <a:cubicBezTo>
                  <a:pt x="2622646" y="1094812"/>
                  <a:pt x="2571332" y="1146126"/>
                  <a:pt x="2508033" y="1146126"/>
                </a:cubicBezTo>
                <a:lnTo>
                  <a:pt x="114613" y="1146125"/>
                </a:lnTo>
                <a:cubicBezTo>
                  <a:pt x="51314" y="1146125"/>
                  <a:pt x="0" y="1094811"/>
                  <a:pt x="0" y="1031512"/>
                </a:cubicBezTo>
                <a:lnTo>
                  <a:pt x="0" y="11461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18 690 €</a:t>
            </a:r>
          </a:p>
        </p:txBody>
      </p:sp>
      <p:sp>
        <p:nvSpPr>
          <p:cNvPr id="12" name="Freeform: Shape 11">
            <a:extLst>
              <a:ext uri="{FF2B5EF4-FFF2-40B4-BE49-F238E27FC236}">
                <a16:creationId xmlns:a16="http://schemas.microsoft.com/office/drawing/2014/main" id="{EF1ABC72-5A87-FC9C-F8D5-739CFA2EA7DF}"/>
              </a:ext>
            </a:extLst>
          </p:cNvPr>
          <p:cNvSpPr/>
          <p:nvPr/>
        </p:nvSpPr>
        <p:spPr>
          <a:xfrm>
            <a:off x="7172397" y="1826505"/>
            <a:ext cx="2790419" cy="1146125"/>
          </a:xfrm>
          <a:custGeom>
            <a:avLst/>
            <a:gdLst>
              <a:gd name="connsiteX0" fmla="*/ 0 w 2292250"/>
              <a:gd name="connsiteY0" fmla="*/ 114613 h 1146125"/>
              <a:gd name="connsiteX1" fmla="*/ 114613 w 2292250"/>
              <a:gd name="connsiteY1" fmla="*/ 0 h 1146125"/>
              <a:gd name="connsiteX2" fmla="*/ 2177638 w 2292250"/>
              <a:gd name="connsiteY2" fmla="*/ 0 h 1146125"/>
              <a:gd name="connsiteX3" fmla="*/ 2292251 w 2292250"/>
              <a:gd name="connsiteY3" fmla="*/ 114613 h 1146125"/>
              <a:gd name="connsiteX4" fmla="*/ 2292250 w 2292250"/>
              <a:gd name="connsiteY4" fmla="*/ 1031513 h 1146125"/>
              <a:gd name="connsiteX5" fmla="*/ 2177637 w 2292250"/>
              <a:gd name="connsiteY5" fmla="*/ 1146126 h 1146125"/>
              <a:gd name="connsiteX6" fmla="*/ 114613 w 2292250"/>
              <a:gd name="connsiteY6" fmla="*/ 1146125 h 1146125"/>
              <a:gd name="connsiteX7" fmla="*/ 0 w 2292250"/>
              <a:gd name="connsiteY7" fmla="*/ 1031512 h 1146125"/>
              <a:gd name="connsiteX8" fmla="*/ 0 w 2292250"/>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50" h="1146125">
                <a:moveTo>
                  <a:pt x="0" y="114613"/>
                </a:moveTo>
                <a:cubicBezTo>
                  <a:pt x="0" y="51314"/>
                  <a:pt x="51314" y="0"/>
                  <a:pt x="114613" y="0"/>
                </a:cubicBezTo>
                <a:lnTo>
                  <a:pt x="2177638" y="0"/>
                </a:lnTo>
                <a:cubicBezTo>
                  <a:pt x="2240937" y="0"/>
                  <a:pt x="2292251" y="51314"/>
                  <a:pt x="2292251" y="114613"/>
                </a:cubicBezTo>
                <a:cubicBezTo>
                  <a:pt x="2292251" y="420246"/>
                  <a:pt x="2292250" y="725880"/>
                  <a:pt x="2292250" y="1031513"/>
                </a:cubicBezTo>
                <a:cubicBezTo>
                  <a:pt x="2292250" y="1094812"/>
                  <a:pt x="2240936" y="1146126"/>
                  <a:pt x="2177637" y="1146126"/>
                </a:cubicBezTo>
                <a:lnTo>
                  <a:pt x="114613" y="1146125"/>
                </a:lnTo>
                <a:cubicBezTo>
                  <a:pt x="51314" y="1146125"/>
                  <a:pt x="0" y="1094811"/>
                  <a:pt x="0" y="1031512"/>
                </a:cubicBezTo>
                <a:lnTo>
                  <a:pt x="0" y="11461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08000" tIns="88179" rIns="115484" bIns="88179" numCol="1" spcCol="1270" anchor="ctr" anchorCtr="0">
            <a:noAutofit/>
          </a:bodyPr>
          <a:lstStyle/>
          <a:p>
            <a:pPr marL="0" lvl="0" indent="0" defTabSz="1911350">
              <a:lnSpc>
                <a:spcPct val="90000"/>
              </a:lnSpc>
              <a:spcBef>
                <a:spcPct val="0"/>
              </a:spcBef>
              <a:spcAft>
                <a:spcPct val="35000"/>
              </a:spcAft>
              <a:buNone/>
            </a:pPr>
            <a:r>
              <a:rPr lang="fr-FR" sz="2800" kern="1200" dirty="0"/>
              <a:t>Hommes</a:t>
            </a:r>
          </a:p>
        </p:txBody>
      </p:sp>
      <p:sp>
        <p:nvSpPr>
          <p:cNvPr id="13" name="Freeform: Shape 12">
            <a:extLst>
              <a:ext uri="{FF2B5EF4-FFF2-40B4-BE49-F238E27FC236}">
                <a16:creationId xmlns:a16="http://schemas.microsoft.com/office/drawing/2014/main" id="{6818EBA6-9F68-FDC4-E172-0D0F47F0C944}"/>
              </a:ext>
            </a:extLst>
          </p:cNvPr>
          <p:cNvSpPr/>
          <p:nvPr/>
        </p:nvSpPr>
        <p:spPr>
          <a:xfrm>
            <a:off x="7401623" y="2972630"/>
            <a:ext cx="229225" cy="859594"/>
          </a:xfrm>
          <a:custGeom>
            <a:avLst/>
            <a:gdLst/>
            <a:ahLst/>
            <a:cxnLst/>
            <a:rect l="0" t="0" r="0" b="0"/>
            <a:pathLst>
              <a:path>
                <a:moveTo>
                  <a:pt x="0" y="0"/>
                </a:moveTo>
                <a:lnTo>
                  <a:pt x="0" y="859594"/>
                </a:lnTo>
                <a:lnTo>
                  <a:pt x="229225" y="859594"/>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4" name="Freeform: Shape 13">
            <a:extLst>
              <a:ext uri="{FF2B5EF4-FFF2-40B4-BE49-F238E27FC236}">
                <a16:creationId xmlns:a16="http://schemas.microsoft.com/office/drawing/2014/main" id="{E26AD2BC-865F-3008-8F29-1A8EB474539D}"/>
              </a:ext>
            </a:extLst>
          </p:cNvPr>
          <p:cNvSpPr/>
          <p:nvPr/>
        </p:nvSpPr>
        <p:spPr>
          <a:xfrm>
            <a:off x="7630848" y="3259162"/>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emande moyenne : 36 382 €</a:t>
            </a:r>
          </a:p>
        </p:txBody>
      </p:sp>
      <p:sp>
        <p:nvSpPr>
          <p:cNvPr id="15" name="Freeform: Shape 14">
            <a:extLst>
              <a:ext uri="{FF2B5EF4-FFF2-40B4-BE49-F238E27FC236}">
                <a16:creationId xmlns:a16="http://schemas.microsoft.com/office/drawing/2014/main" id="{AC9EA296-274C-331A-F421-96E96B30EAB3}"/>
              </a:ext>
            </a:extLst>
          </p:cNvPr>
          <p:cNvSpPr/>
          <p:nvPr/>
        </p:nvSpPr>
        <p:spPr>
          <a:xfrm>
            <a:off x="7401623" y="2972630"/>
            <a:ext cx="229225" cy="2292250"/>
          </a:xfrm>
          <a:custGeom>
            <a:avLst/>
            <a:gdLst/>
            <a:ahLst/>
            <a:cxnLst/>
            <a:rect l="0" t="0" r="0" b="0"/>
            <a:pathLst>
              <a:path>
                <a:moveTo>
                  <a:pt x="0" y="0"/>
                </a:moveTo>
                <a:lnTo>
                  <a:pt x="0" y="2292250"/>
                </a:lnTo>
                <a:lnTo>
                  <a:pt x="229225" y="2292250"/>
                </a:lnTo>
              </a:path>
            </a:pathLst>
          </a:custGeom>
          <a:noFill/>
        </p:spPr>
        <p:style>
          <a:lnRef idx="2">
            <a:schemeClr val="accent3">
              <a:shade val="60000"/>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txBody>
          <a:bodyPr/>
          <a:lstStyle/>
          <a:p>
            <a:endParaRPr lang="fr-FR"/>
          </a:p>
        </p:txBody>
      </p:sp>
      <p:sp>
        <p:nvSpPr>
          <p:cNvPr id="16" name="Freeform: Shape 15">
            <a:extLst>
              <a:ext uri="{FF2B5EF4-FFF2-40B4-BE49-F238E27FC236}">
                <a16:creationId xmlns:a16="http://schemas.microsoft.com/office/drawing/2014/main" id="{ED94A925-EA09-6446-1020-7B6161596EBD}"/>
              </a:ext>
            </a:extLst>
          </p:cNvPr>
          <p:cNvSpPr/>
          <p:nvPr/>
        </p:nvSpPr>
        <p:spPr>
          <a:xfrm>
            <a:off x="7630848" y="4691819"/>
            <a:ext cx="2722753" cy="1146125"/>
          </a:xfrm>
          <a:custGeom>
            <a:avLst/>
            <a:gdLst>
              <a:gd name="connsiteX0" fmla="*/ 0 w 2722753"/>
              <a:gd name="connsiteY0" fmla="*/ 114613 h 1146125"/>
              <a:gd name="connsiteX1" fmla="*/ 114613 w 2722753"/>
              <a:gd name="connsiteY1" fmla="*/ 0 h 1146125"/>
              <a:gd name="connsiteX2" fmla="*/ 2608141 w 2722753"/>
              <a:gd name="connsiteY2" fmla="*/ 0 h 1146125"/>
              <a:gd name="connsiteX3" fmla="*/ 2722754 w 2722753"/>
              <a:gd name="connsiteY3" fmla="*/ 114613 h 1146125"/>
              <a:gd name="connsiteX4" fmla="*/ 2722753 w 2722753"/>
              <a:gd name="connsiteY4" fmla="*/ 1031513 h 1146125"/>
              <a:gd name="connsiteX5" fmla="*/ 2608140 w 2722753"/>
              <a:gd name="connsiteY5" fmla="*/ 1146126 h 1146125"/>
              <a:gd name="connsiteX6" fmla="*/ 114613 w 2722753"/>
              <a:gd name="connsiteY6" fmla="*/ 1146125 h 1146125"/>
              <a:gd name="connsiteX7" fmla="*/ 0 w 2722753"/>
              <a:gd name="connsiteY7" fmla="*/ 1031512 h 1146125"/>
              <a:gd name="connsiteX8" fmla="*/ 0 w 2722753"/>
              <a:gd name="connsiteY8" fmla="*/ 114613 h 11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2753" h="1146125">
                <a:moveTo>
                  <a:pt x="0" y="114613"/>
                </a:moveTo>
                <a:cubicBezTo>
                  <a:pt x="0" y="51314"/>
                  <a:pt x="51314" y="0"/>
                  <a:pt x="114613" y="0"/>
                </a:cubicBezTo>
                <a:lnTo>
                  <a:pt x="2608141" y="0"/>
                </a:lnTo>
                <a:cubicBezTo>
                  <a:pt x="2671440" y="0"/>
                  <a:pt x="2722754" y="51314"/>
                  <a:pt x="2722754" y="114613"/>
                </a:cubicBezTo>
                <a:cubicBezTo>
                  <a:pt x="2722754" y="420246"/>
                  <a:pt x="2722753" y="725880"/>
                  <a:pt x="2722753" y="1031513"/>
                </a:cubicBezTo>
                <a:cubicBezTo>
                  <a:pt x="2722753" y="1094812"/>
                  <a:pt x="2671439" y="1146126"/>
                  <a:pt x="2608140" y="1146126"/>
                </a:cubicBezTo>
                <a:lnTo>
                  <a:pt x="114613" y="1146125"/>
                </a:lnTo>
                <a:cubicBezTo>
                  <a:pt x="51314" y="1146125"/>
                  <a:pt x="0" y="1094811"/>
                  <a:pt x="0" y="1031512"/>
                </a:cubicBezTo>
                <a:lnTo>
                  <a:pt x="0" y="114613"/>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7384" tIns="62779" rIns="77384" bIns="62779" numCol="1" spcCol="1270" anchor="ctr" anchorCtr="0">
            <a:noAutofit/>
          </a:bodyPr>
          <a:lstStyle/>
          <a:p>
            <a:pPr marL="0" lvl="0" indent="0" algn="ctr" defTabSz="1022350">
              <a:lnSpc>
                <a:spcPct val="90000"/>
              </a:lnSpc>
              <a:spcBef>
                <a:spcPct val="0"/>
              </a:spcBef>
              <a:spcAft>
                <a:spcPct val="35000"/>
              </a:spcAft>
              <a:buNone/>
            </a:pPr>
            <a:r>
              <a:rPr lang="fr-FR" sz="2300" kern="1200" dirty="0"/>
              <a:t>Décision moyenne : </a:t>
            </a:r>
          </a:p>
          <a:p>
            <a:pPr marL="0" lvl="0" indent="0" algn="ctr" defTabSz="1022350">
              <a:lnSpc>
                <a:spcPct val="90000"/>
              </a:lnSpc>
              <a:spcBef>
                <a:spcPct val="0"/>
              </a:spcBef>
              <a:spcAft>
                <a:spcPct val="35000"/>
              </a:spcAft>
              <a:buNone/>
            </a:pPr>
            <a:r>
              <a:rPr lang="fr-FR" sz="2300" kern="1200" dirty="0"/>
              <a:t>24 697 €</a:t>
            </a:r>
          </a:p>
        </p:txBody>
      </p:sp>
      <p:pic>
        <p:nvPicPr>
          <p:cNvPr id="17" name="Graphic 16" descr="Female Profile outline">
            <a:extLst>
              <a:ext uri="{FF2B5EF4-FFF2-40B4-BE49-F238E27FC236}">
                <a16:creationId xmlns:a16="http://schemas.microsoft.com/office/drawing/2014/main" id="{3EC4F06C-2638-7F0D-57BC-D724EAFE9D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200" y="1942368"/>
            <a:ext cx="914400" cy="914400"/>
          </a:xfrm>
          <a:prstGeom prst="rect">
            <a:avLst/>
          </a:prstGeom>
        </p:spPr>
      </p:pic>
      <p:pic>
        <p:nvPicPr>
          <p:cNvPr id="18" name="Graphic 17" descr="Male profile outline">
            <a:extLst>
              <a:ext uri="{FF2B5EF4-FFF2-40B4-BE49-F238E27FC236}">
                <a16:creationId xmlns:a16="http://schemas.microsoft.com/office/drawing/2014/main" id="{FCF987E2-A8AD-522A-85BB-C86D1B987F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5584" y="1944370"/>
            <a:ext cx="914400" cy="914400"/>
          </a:xfrm>
          <a:prstGeom prst="rect">
            <a:avLst/>
          </a:prstGeom>
        </p:spPr>
      </p:pic>
    </p:spTree>
    <p:extLst>
      <p:ext uri="{BB962C8B-B14F-4D97-AF65-F5344CB8AC3E}">
        <p14:creationId xmlns:p14="http://schemas.microsoft.com/office/powerpoint/2010/main" val="22254458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Préjudice sexuel et dommage corporel</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p:txBody>
          <a:bodyPr/>
          <a:lstStyle/>
          <a:p>
            <a:endParaRPr lang="fr-FR" dirty="0"/>
          </a:p>
          <a:p>
            <a:r>
              <a:rPr lang="fr-FR" dirty="0"/>
              <a:t>Docteur Ruben GOLDET</a:t>
            </a:r>
          </a:p>
          <a:p>
            <a:r>
              <a:rPr lang="fr-FR" dirty="0"/>
              <a:t>Expert près la Cour d'Appel de Lyon, agréé par la Cour de Cassation</a:t>
            </a:r>
          </a:p>
        </p:txBody>
      </p:sp>
    </p:spTree>
    <p:extLst>
      <p:ext uri="{BB962C8B-B14F-4D97-AF65-F5344CB8AC3E}">
        <p14:creationId xmlns:p14="http://schemas.microsoft.com/office/powerpoint/2010/main" val="24949042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Le préjudice sexuel, extrapatrimonial : atteinte à la vie sexuelle (plaisir, acte sexuel, procréation)</a:t>
            </a:r>
          </a:p>
          <a:p>
            <a:endParaRPr lang="fr-FR" dirty="0"/>
          </a:p>
          <a:p>
            <a:pPr lvl="1"/>
            <a:r>
              <a:rPr lang="fr-FR" dirty="0"/>
              <a:t>Problématique : Comment le droit indemnise-t-il ces atteintes à la sexualité ?</a:t>
            </a:r>
          </a:p>
          <a:p>
            <a:pPr lvl="2"/>
            <a:r>
              <a:rPr lang="fr-FR" dirty="0"/>
              <a:t>L’expert sera </a:t>
            </a:r>
            <a:r>
              <a:rPr lang="fr-FR" b="1" dirty="0"/>
              <a:t>descriptif</a:t>
            </a:r>
          </a:p>
          <a:p>
            <a:endParaRPr lang="fr-FR" dirty="0"/>
          </a:p>
          <a:p>
            <a:pPr lvl="1"/>
            <a:r>
              <a:rPr lang="fr-FR" dirty="0"/>
              <a:t>Nombreuses situations médicales :</a:t>
            </a:r>
          </a:p>
          <a:p>
            <a:pPr lvl="2"/>
            <a:r>
              <a:rPr lang="fr-FR" dirty="0"/>
              <a:t>En particulier les blessés médullaires : victime d’une lésion de la moelle épinière (paraplégie, tétraplégie) ; </a:t>
            </a:r>
            <a:br>
              <a:rPr lang="fr-FR" dirty="0"/>
            </a:br>
            <a:r>
              <a:rPr lang="fr-FR" dirty="0"/>
              <a:t>les syndromes  de la queue de cheval : atteinte des racines</a:t>
            </a:r>
          </a:p>
          <a:p>
            <a:pPr lvl="2"/>
            <a:r>
              <a:rPr lang="fr-FR" dirty="0"/>
              <a:t>Mais aussi les amputés, les polytraumatisés…</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8</a:t>
            </a:fld>
            <a:endParaRPr lang="fr-FR" dirty="0"/>
          </a:p>
        </p:txBody>
      </p:sp>
    </p:spTree>
    <p:extLst>
      <p:ext uri="{BB962C8B-B14F-4D97-AF65-F5344CB8AC3E}">
        <p14:creationId xmlns:p14="http://schemas.microsoft.com/office/powerpoint/2010/main" val="41704986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Poste de préjudice autonome reconnu par la nomenclature Dintilhac.</a:t>
            </a:r>
          </a:p>
          <a:p>
            <a:pPr lvl="1"/>
            <a:endParaRPr lang="fr-FR" dirty="0"/>
          </a:p>
          <a:p>
            <a:pPr lvl="1"/>
            <a:r>
              <a:rPr lang="fr-FR" dirty="0"/>
              <a:t>Trois composantes principales :</a:t>
            </a:r>
          </a:p>
          <a:p>
            <a:r>
              <a:rPr lang="fr-FR" dirty="0"/>
              <a:t>  	1. Préjudice </a:t>
            </a:r>
            <a:r>
              <a:rPr lang="fr-FR" b="1" dirty="0"/>
              <a:t>morphologique</a:t>
            </a:r>
          </a:p>
          <a:p>
            <a:r>
              <a:rPr lang="fr-FR" dirty="0"/>
              <a:t>  	2. Préjudice </a:t>
            </a:r>
            <a:r>
              <a:rPr lang="fr-FR" b="1" dirty="0"/>
              <a:t>fonctionnel</a:t>
            </a:r>
          </a:p>
          <a:p>
            <a:r>
              <a:rPr lang="fr-FR" dirty="0"/>
              <a:t> 	3. Préjudice lié à la </a:t>
            </a:r>
            <a:r>
              <a:rPr lang="fr-FR" b="1" dirty="0"/>
              <a:t>procréation</a:t>
            </a:r>
          </a:p>
          <a:p>
            <a:endParaRPr lang="fr-FR" dirty="0"/>
          </a:p>
          <a:p>
            <a:pPr lvl="1"/>
            <a:r>
              <a:rPr lang="fr-FR" dirty="0"/>
              <a:t>Ajout d’une dimension psychologique </a:t>
            </a:r>
            <a:r>
              <a:rPr lang="fr-FR" i="1" dirty="0"/>
              <a:t>(Cass. 2e civ., 28 mai 2009).</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9</a:t>
            </a:fld>
            <a:endParaRPr lang="fr-FR" dirty="0"/>
          </a:p>
        </p:txBody>
      </p:sp>
    </p:spTree>
    <p:extLst>
      <p:ext uri="{BB962C8B-B14F-4D97-AF65-F5344CB8AC3E}">
        <p14:creationId xmlns:p14="http://schemas.microsoft.com/office/powerpoint/2010/main" val="2711750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7FBA7-2EA0-4255-7670-1353042225E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9E28A20-A312-AA75-6B4F-002546128BF0}"/>
              </a:ext>
            </a:extLst>
          </p:cNvPr>
          <p:cNvSpPr>
            <a:spLocks noGrp="1"/>
          </p:cNvSpPr>
          <p:nvPr>
            <p:ph type="ctrTitle"/>
          </p:nvPr>
        </p:nvSpPr>
        <p:spPr>
          <a:xfrm>
            <a:off x="756745" y="1320519"/>
            <a:ext cx="5339255" cy="2387600"/>
          </a:xfrm>
        </p:spPr>
        <p:txBody>
          <a:bodyPr/>
          <a:lstStyle/>
          <a:p>
            <a:r>
              <a:rPr lang="fr-FR" dirty="0"/>
              <a:t>Les problèmes textuels</a:t>
            </a:r>
          </a:p>
        </p:txBody>
      </p:sp>
    </p:spTree>
    <p:extLst>
      <p:ext uri="{BB962C8B-B14F-4D97-AF65-F5344CB8AC3E}">
        <p14:creationId xmlns:p14="http://schemas.microsoft.com/office/powerpoint/2010/main" val="30524467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Lésion de la moelle épinière = atteinte neurologique directe</a:t>
            </a:r>
          </a:p>
          <a:p>
            <a:endParaRPr lang="fr-FR" dirty="0"/>
          </a:p>
          <a:p>
            <a:pPr lvl="1"/>
            <a:r>
              <a:rPr lang="fr-FR" b="1" dirty="0"/>
              <a:t>Chez l’homme </a:t>
            </a:r>
            <a:r>
              <a:rPr lang="fr-FR" dirty="0"/>
              <a:t>: </a:t>
            </a:r>
          </a:p>
          <a:p>
            <a:pPr lvl="2"/>
            <a:r>
              <a:rPr lang="fr-FR" dirty="0"/>
              <a:t>perte de libido, gênes posturales, troubles de l’érection, anéjaculation, infertilité</a:t>
            </a:r>
          </a:p>
          <a:p>
            <a:endParaRPr lang="fr-FR" dirty="0"/>
          </a:p>
          <a:p>
            <a:pPr lvl="1"/>
            <a:r>
              <a:rPr lang="fr-FR" b="1" dirty="0"/>
              <a:t>Chez la femme </a:t>
            </a:r>
            <a:r>
              <a:rPr lang="fr-FR" dirty="0"/>
              <a:t>: </a:t>
            </a:r>
          </a:p>
          <a:p>
            <a:pPr lvl="2"/>
            <a:r>
              <a:rPr lang="fr-FR" dirty="0"/>
              <a:t>perte d’orgasme, troubles de lubrification, complications de grossesse</a:t>
            </a:r>
          </a:p>
          <a:p>
            <a:endParaRPr lang="fr-FR" dirty="0"/>
          </a:p>
          <a:p>
            <a:pPr lvl="1"/>
            <a:r>
              <a:rPr lang="fr-FR" dirty="0"/>
              <a:t>Mais aussi  associations de ces troubles </a:t>
            </a:r>
            <a:r>
              <a:rPr lang="fr-FR" dirty="0" err="1"/>
              <a:t>génito</a:t>
            </a:r>
            <a:r>
              <a:rPr lang="fr-FR" dirty="0"/>
              <a:t>-sphinctériens  : </a:t>
            </a:r>
          </a:p>
          <a:p>
            <a:pPr lvl="2"/>
            <a:r>
              <a:rPr lang="fr-FR" dirty="0"/>
              <a:t>à des troubles urinaires (ex : fuites urinaires pendant les rapports), intestinaux…</a:t>
            </a:r>
          </a:p>
          <a:p>
            <a:pPr lvl="2"/>
            <a:r>
              <a:rPr lang="fr-FR" dirty="0"/>
              <a:t>à son retentissement psychologique</a:t>
            </a:r>
          </a:p>
          <a:p>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0</a:t>
            </a:fld>
            <a:endParaRPr lang="fr-FR" dirty="0"/>
          </a:p>
        </p:txBody>
      </p:sp>
    </p:spTree>
    <p:extLst>
      <p:ext uri="{BB962C8B-B14F-4D97-AF65-F5344CB8AC3E}">
        <p14:creationId xmlns:p14="http://schemas.microsoft.com/office/powerpoint/2010/main" val="3009038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 morphologique et fonctionnel</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Atteinte des organes sexuels et perte de sensibilité</a:t>
            </a:r>
          </a:p>
          <a:p>
            <a:pPr lvl="1"/>
            <a:endParaRPr lang="fr-FR" dirty="0"/>
          </a:p>
          <a:p>
            <a:pPr lvl="1"/>
            <a:r>
              <a:rPr lang="fr-FR" dirty="0"/>
              <a:t>Troubles de l’érection, frigidité, absence de plaisir</a:t>
            </a:r>
          </a:p>
          <a:p>
            <a:pPr lvl="1"/>
            <a:endParaRPr lang="fr-FR" dirty="0"/>
          </a:p>
          <a:p>
            <a:pPr lvl="1"/>
            <a:r>
              <a:rPr lang="fr-FR" dirty="0"/>
              <a:t>(Ré)investissement de nouvelles zones érogènes</a:t>
            </a:r>
          </a:p>
          <a:p>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1</a:t>
            </a:fld>
            <a:endParaRPr lang="fr-FR" dirty="0"/>
          </a:p>
        </p:txBody>
      </p:sp>
    </p:spTree>
    <p:extLst>
      <p:ext uri="{BB962C8B-B14F-4D97-AF65-F5344CB8AC3E}">
        <p14:creationId xmlns:p14="http://schemas.microsoft.com/office/powerpoint/2010/main" val="19360587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 lié à la procréatio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Infertilité ou impossibilité de conception naturelle</a:t>
            </a:r>
          </a:p>
          <a:p>
            <a:pPr lvl="2"/>
            <a:r>
              <a:rPr lang="fr-FR" dirty="0"/>
              <a:t>Chez l’homme perte de fertilité allant croissant très rapidement( dès J15) d’où 	conservations spermatiques précoces (la 1</a:t>
            </a:r>
            <a:r>
              <a:rPr lang="fr-FR" baseline="30000" dirty="0"/>
              <a:t>ère</a:t>
            </a:r>
            <a:r>
              <a:rPr lang="fr-FR" dirty="0"/>
              <a:t> année, recueillies après stimulation) au CECOS utiles en vue d’une paternité</a:t>
            </a:r>
          </a:p>
          <a:p>
            <a:pPr lvl="2"/>
            <a:r>
              <a:rPr lang="fr-FR" dirty="0"/>
              <a:t>Les blessés médullaires constituent ainsi une population particulière d'hommes infertiles, 	seuls 10 % d'entre eux peuvent obtenir une naissance sans assistance médicale à la procréation en  raison de troubles de l’érection, de l’éjaculation et d’altération des paramètres du sperme</a:t>
            </a:r>
          </a:p>
          <a:p>
            <a:endParaRPr lang="fr-FR" dirty="0"/>
          </a:p>
          <a:p>
            <a:pPr lvl="1"/>
            <a:r>
              <a:rPr lang="fr-FR" i="1" dirty="0"/>
              <a:t>CA Lyon, 4 avril 2019 : indemnisation du préjudice de procréation</a:t>
            </a:r>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2</a:t>
            </a:fld>
            <a:endParaRPr lang="fr-FR" dirty="0"/>
          </a:p>
        </p:txBody>
      </p:sp>
    </p:spTree>
    <p:extLst>
      <p:ext uri="{BB962C8B-B14F-4D97-AF65-F5344CB8AC3E}">
        <p14:creationId xmlns:p14="http://schemas.microsoft.com/office/powerpoint/2010/main" val="22230383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 </a:t>
            </a:r>
            <a:br>
              <a:rPr lang="fr-FR" dirty="0"/>
            </a:br>
            <a:r>
              <a:rPr lang="fr-FR" dirty="0"/>
              <a:t>lié à la procréatio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algn="just"/>
            <a:r>
              <a:rPr lang="fr-FR" dirty="0"/>
              <a:t>La séquence habituellement proposée consiste à recueillir le sperme par stimulation vibratoire pénienne ou, en cas d’échec, par électroéjaculation</a:t>
            </a:r>
          </a:p>
          <a:p>
            <a:pPr algn="just"/>
            <a:r>
              <a:rPr lang="fr-FR" dirty="0"/>
              <a:t>La plupart des patients présente une concentration en spermatozoïdes normale, mais une asthénospermie et une nécrospermie importantes dans le sperme éjaculé</a:t>
            </a:r>
          </a:p>
          <a:p>
            <a:pPr algn="just"/>
            <a:r>
              <a:rPr lang="fr-FR" dirty="0"/>
              <a:t>En cas d’échec de l’électroéjaculation, ou si l’éjaculat obtenu par vibratoire pénienne ou électroéjaculation contient une quantité ou une qualité de spermatozoïdes insuffisantes pour une utilisation en fécondation in vitro avec micro-injection, une ponction chirurgicale de spermatozoïdes peut être proposée</a:t>
            </a:r>
          </a:p>
          <a:p>
            <a:pPr algn="just"/>
            <a:r>
              <a:rPr lang="fr-FR" dirty="0"/>
              <a:t>Malgré une altération des paramètres spermatiques, des grossesses sont obtenues avec les spermatozoïdes de blessés médullaires, par les techniques d’insémination intra-vaginale, insémination intra-utérine et FIV avec micro-injection</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3</a:t>
            </a:fld>
            <a:endParaRPr lang="fr-FR" dirty="0"/>
          </a:p>
        </p:txBody>
      </p:sp>
    </p:spTree>
    <p:extLst>
      <p:ext uri="{BB962C8B-B14F-4D97-AF65-F5344CB8AC3E}">
        <p14:creationId xmlns:p14="http://schemas.microsoft.com/office/powerpoint/2010/main" val="39013679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 retentissement psychologique</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Perte de confiance, sentiment d’incomplétude, altération de la vie affective</a:t>
            </a:r>
          </a:p>
          <a:p>
            <a:pPr lvl="1"/>
            <a:endParaRPr lang="fr-FR" dirty="0"/>
          </a:p>
          <a:p>
            <a:pPr lvl="1"/>
            <a:r>
              <a:rPr lang="fr-FR" dirty="0"/>
              <a:t>Souffrance morale spécifique, indépendante du préjudice d’agrément</a:t>
            </a:r>
          </a:p>
          <a:p>
            <a:pPr lvl="1"/>
            <a:endParaRPr lang="fr-FR" dirty="0"/>
          </a:p>
          <a:p>
            <a:pPr lvl="1"/>
            <a:r>
              <a:rPr lang="fr-FR" i="1" dirty="0"/>
              <a:t>Cass. 2e civ., 28 mai 2009 : approche globale du préjudice sexuel</a:t>
            </a:r>
            <a:endParaRPr lang="fr-FR" dirty="0"/>
          </a:p>
          <a:p>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4</a:t>
            </a:fld>
            <a:endParaRPr lang="fr-FR" dirty="0"/>
          </a:p>
        </p:txBody>
      </p:sp>
    </p:spTree>
    <p:extLst>
      <p:ext uri="{BB962C8B-B14F-4D97-AF65-F5344CB8AC3E}">
        <p14:creationId xmlns:p14="http://schemas.microsoft.com/office/powerpoint/2010/main" val="39707018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69EA-FF3E-49FB-3BB7-25DD55A939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578F8E-3EDD-F23A-31E4-64353A400704}"/>
              </a:ext>
            </a:extLst>
          </p:cNvPr>
          <p:cNvSpPr>
            <a:spLocks noGrp="1"/>
          </p:cNvSpPr>
          <p:nvPr>
            <p:ph type="title"/>
          </p:nvPr>
        </p:nvSpPr>
        <p:spPr/>
        <p:txBody>
          <a:bodyPr/>
          <a:lstStyle/>
          <a:p>
            <a:r>
              <a:rPr lang="fr-FR" dirty="0"/>
              <a:t>Pièces utiles</a:t>
            </a:r>
          </a:p>
        </p:txBody>
      </p:sp>
      <p:sp>
        <p:nvSpPr>
          <p:cNvPr id="44" name="Content Placeholder 43">
            <a:extLst>
              <a:ext uri="{FF2B5EF4-FFF2-40B4-BE49-F238E27FC236}">
                <a16:creationId xmlns:a16="http://schemas.microsoft.com/office/drawing/2014/main" id="{6D71E745-3BF9-289E-98D6-323CE8FA9B73}"/>
              </a:ext>
            </a:extLst>
          </p:cNvPr>
          <p:cNvSpPr>
            <a:spLocks noGrp="1"/>
          </p:cNvSpPr>
          <p:nvPr>
            <p:ph idx="1"/>
          </p:nvPr>
        </p:nvSpPr>
        <p:spPr>
          <a:xfrm>
            <a:off x="838200" y="1825625"/>
            <a:ext cx="5838825" cy="3978275"/>
          </a:xfrm>
        </p:spPr>
        <p:txBody>
          <a:bodyPr/>
          <a:lstStyle/>
          <a:p>
            <a:r>
              <a:rPr lang="fr-FR" b="1"/>
              <a:t>Preuves des déficiences</a:t>
            </a:r>
          </a:p>
          <a:p>
            <a:endParaRPr lang="fr-FR"/>
          </a:p>
          <a:p>
            <a:pPr lvl="1"/>
            <a:r>
              <a:rPr lang="fr-FR"/>
              <a:t>Fréquentations des consultations en neuro-périnéologie (service dédié aux troubles génitosexuels dans les services MPR en CHU)</a:t>
            </a:r>
          </a:p>
          <a:p>
            <a:pPr lvl="1"/>
            <a:endParaRPr lang="fr-FR"/>
          </a:p>
          <a:p>
            <a:pPr lvl="1"/>
            <a:r>
              <a:rPr lang="fr-FR"/>
              <a:t>Ordonnances de prostaglandines</a:t>
            </a:r>
            <a:br>
              <a:rPr lang="fr-FR"/>
            </a:br>
            <a:r>
              <a:rPr lang="fr-FR"/>
              <a:t>(médicaments dits d’exception sur CERFA)</a:t>
            </a:r>
          </a:p>
          <a:p>
            <a:pPr lvl="1"/>
            <a:endParaRPr lang="fr-FR"/>
          </a:p>
          <a:p>
            <a:pPr lvl="1"/>
            <a:r>
              <a:rPr lang="fr-FR"/>
              <a:t>Témoignages des proches, fiche de doléances</a:t>
            </a:r>
          </a:p>
          <a:p>
            <a:pPr lvl="1"/>
            <a:endParaRPr lang="fr-FR"/>
          </a:p>
          <a:p>
            <a:pPr lvl="1"/>
            <a:r>
              <a:rPr lang="fr-FR"/>
              <a:t>…</a:t>
            </a:r>
            <a:endParaRPr lang="fr-FR" dirty="0"/>
          </a:p>
        </p:txBody>
      </p:sp>
      <p:sp>
        <p:nvSpPr>
          <p:cNvPr id="4" name="Footer Placeholder 3">
            <a:extLst>
              <a:ext uri="{FF2B5EF4-FFF2-40B4-BE49-F238E27FC236}">
                <a16:creationId xmlns:a16="http://schemas.microsoft.com/office/drawing/2014/main" id="{3BC396ED-3F20-EE74-DB55-24D78E292BC0}"/>
              </a:ext>
            </a:extLst>
          </p:cNvPr>
          <p:cNvSpPr>
            <a:spLocks noGrp="1"/>
          </p:cNvSpPr>
          <p:nvPr>
            <p:ph type="ftr" sz="quarter" idx="11"/>
          </p:nvPr>
        </p:nvSpPr>
        <p:spPr/>
        <p:txBody>
          <a:bodyPr/>
          <a:lstStyle/>
          <a:p>
            <a:r>
              <a:rPr lang="fr-FR"/>
              <a:t>Préjudice sexuel &amp; dommage corporel – Dr R, GOLDET</a:t>
            </a:r>
            <a:endParaRPr lang="fr-FR" dirty="0"/>
          </a:p>
        </p:txBody>
      </p:sp>
      <p:sp>
        <p:nvSpPr>
          <p:cNvPr id="5" name="Slide Number Placeholder 4">
            <a:extLst>
              <a:ext uri="{FF2B5EF4-FFF2-40B4-BE49-F238E27FC236}">
                <a16:creationId xmlns:a16="http://schemas.microsoft.com/office/drawing/2014/main" id="{592653B3-6D72-D7CC-962C-FF53138F5D9A}"/>
              </a:ext>
            </a:extLst>
          </p:cNvPr>
          <p:cNvSpPr>
            <a:spLocks noGrp="1"/>
          </p:cNvSpPr>
          <p:nvPr>
            <p:ph type="sldNum" sz="quarter" idx="12"/>
            <p:custDataLst>
              <p:tags r:id="rId1"/>
            </p:custDataLst>
          </p:nvPr>
        </p:nvSpPr>
        <p:spPr/>
        <p:txBody>
          <a:bodyPr/>
          <a:lstStyle/>
          <a:p>
            <a:fld id="{8415421A-8635-4166-92D2-5F6D44CB9F91}" type="slidenum">
              <a:rPr lang="fr-FR" smtClean="0"/>
              <a:pPr/>
              <a:t>45</a:t>
            </a:fld>
            <a:endParaRPr lang="fr-FR" dirty="0"/>
          </a:p>
        </p:txBody>
      </p:sp>
      <p:sp>
        <p:nvSpPr>
          <p:cNvPr id="3" name="Content Placeholder 2">
            <a:extLst>
              <a:ext uri="{FF2B5EF4-FFF2-40B4-BE49-F238E27FC236}">
                <a16:creationId xmlns:a16="http://schemas.microsoft.com/office/drawing/2014/main" id="{77D83E30-AC7C-5EA1-80BD-13BC0B7219A9}"/>
              </a:ext>
            </a:extLst>
          </p:cNvPr>
          <p:cNvSpPr>
            <a:spLocks noGrp="1"/>
          </p:cNvSpPr>
          <p:nvPr>
            <p:ph sz="half" idx="4294967295"/>
          </p:nvPr>
        </p:nvSpPr>
        <p:spPr>
          <a:xfrm>
            <a:off x="7010400" y="1825625"/>
            <a:ext cx="5181600" cy="4351338"/>
          </a:xfrm>
        </p:spPr>
        <p:txBody>
          <a:bodyPr/>
          <a:lstStyle/>
          <a:p>
            <a:r>
              <a:rPr lang="fr-FR" dirty="0"/>
              <a:t>Texte 1er niveau</a:t>
            </a:r>
          </a:p>
          <a:p>
            <a:pPr lvl="1"/>
            <a:r>
              <a:rPr lang="fr-FR" dirty="0"/>
              <a:t>Texte 2ème niveau</a:t>
            </a:r>
          </a:p>
          <a:p>
            <a:pPr lvl="2"/>
            <a:r>
              <a:rPr lang="fr-FR" dirty="0"/>
              <a:t>Texte 3ème niveau</a:t>
            </a:r>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3948" y="267969"/>
            <a:ext cx="3402740" cy="5796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48217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69EA-FF3E-49FB-3BB7-25DD55A939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578F8E-3EDD-F23A-31E4-64353A400704}"/>
              </a:ext>
            </a:extLst>
          </p:cNvPr>
          <p:cNvSpPr>
            <a:spLocks noGrp="1"/>
          </p:cNvSpPr>
          <p:nvPr>
            <p:ph type="title"/>
          </p:nvPr>
        </p:nvSpPr>
        <p:spPr>
          <a:xfrm>
            <a:off x="838200" y="365126"/>
            <a:ext cx="9321800" cy="919221"/>
          </a:xfrm>
        </p:spPr>
        <p:txBody>
          <a:bodyPr/>
          <a:lstStyle/>
          <a:p>
            <a:r>
              <a:rPr lang="fr-FR" dirty="0"/>
              <a:t>Pièces utiles</a:t>
            </a:r>
          </a:p>
        </p:txBody>
      </p:sp>
      <p:sp>
        <p:nvSpPr>
          <p:cNvPr id="44" name="Content Placeholder 43">
            <a:extLst>
              <a:ext uri="{FF2B5EF4-FFF2-40B4-BE49-F238E27FC236}">
                <a16:creationId xmlns:a16="http://schemas.microsoft.com/office/drawing/2014/main" id="{6D71E745-3BF9-289E-98D6-323CE8FA9B73}"/>
              </a:ext>
            </a:extLst>
          </p:cNvPr>
          <p:cNvSpPr>
            <a:spLocks noGrp="1"/>
          </p:cNvSpPr>
          <p:nvPr>
            <p:ph idx="1"/>
          </p:nvPr>
        </p:nvSpPr>
        <p:spPr>
          <a:xfrm>
            <a:off x="838200" y="1825625"/>
            <a:ext cx="4867275" cy="3978275"/>
          </a:xfrm>
        </p:spPr>
        <p:txBody>
          <a:bodyPr/>
          <a:lstStyle/>
          <a:p>
            <a:r>
              <a:rPr lang="fr-FR" b="1" dirty="0"/>
              <a:t>Preuves des déficiences</a:t>
            </a:r>
          </a:p>
          <a:p>
            <a:endParaRPr lang="fr-FR" dirty="0"/>
          </a:p>
          <a:p>
            <a:pPr lvl="1"/>
            <a:r>
              <a:rPr lang="fr-FR" dirty="0"/>
              <a:t>Injections intra-péniennes de prostaglandines (CAVERJECT, EDEX…)</a:t>
            </a:r>
          </a:p>
          <a:p>
            <a:pPr lvl="1"/>
            <a:endParaRPr lang="fr-FR" dirty="0"/>
          </a:p>
          <a:p>
            <a:pPr lvl="1"/>
            <a:endParaRPr lang="fr-FR" dirty="0"/>
          </a:p>
        </p:txBody>
      </p:sp>
      <p:sp>
        <p:nvSpPr>
          <p:cNvPr id="4" name="Footer Placeholder 3">
            <a:extLst>
              <a:ext uri="{FF2B5EF4-FFF2-40B4-BE49-F238E27FC236}">
                <a16:creationId xmlns:a16="http://schemas.microsoft.com/office/drawing/2014/main" id="{3BC396ED-3F20-EE74-DB55-24D78E292BC0}"/>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592653B3-6D72-D7CC-962C-FF53138F5D9A}"/>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6</a:t>
            </a:fld>
            <a:endParaRPr lang="fr-FR" dirty="0"/>
          </a:p>
        </p:txBody>
      </p:sp>
      <p:pic>
        <p:nvPicPr>
          <p:cNvPr id="7" name="Espace réservé du contenu 6"/>
          <p:cNvPicPr>
            <a:picLocks noGrp="1" noChangeAspect="1"/>
          </p:cNvPicPr>
          <p:nvPr>
            <p:ph sz="half" idx="4294967295"/>
          </p:nvPr>
        </p:nvPicPr>
        <p:blipFill>
          <a:blip r:embed="rId3" cstate="hqprint">
            <a:extLst>
              <a:ext uri="{28A0092B-C50C-407E-A947-70E740481C1C}">
                <a14:useLocalDpi xmlns:a14="http://schemas.microsoft.com/office/drawing/2010/main" val="0"/>
              </a:ext>
            </a:extLst>
          </a:blip>
          <a:stretch>
            <a:fillRect/>
          </a:stretch>
        </p:blipFill>
        <p:spPr>
          <a:xfrm>
            <a:off x="6327775" y="1562100"/>
            <a:ext cx="5178425" cy="3963988"/>
          </a:xfrm>
        </p:spPr>
      </p:pic>
    </p:spTree>
    <p:extLst>
      <p:ext uri="{BB962C8B-B14F-4D97-AF65-F5344CB8AC3E}">
        <p14:creationId xmlns:p14="http://schemas.microsoft.com/office/powerpoint/2010/main" val="9212306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Le préjudice sexuel chez les blessés médullaires, évaluation et indemnisatio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pPr lvl="1"/>
            <a:r>
              <a:rPr lang="fr-FR" dirty="0"/>
              <a:t>Expertise médico-légale individualisée : </a:t>
            </a:r>
          </a:p>
          <a:p>
            <a:pPr lvl="2"/>
            <a:r>
              <a:rPr lang="fr-FR" dirty="0"/>
              <a:t>Niveau de lésion, retentissement psychique, âge, situation familiale</a:t>
            </a:r>
          </a:p>
          <a:p>
            <a:pPr lvl="2"/>
            <a:r>
              <a:rPr lang="fr-FR" dirty="0"/>
              <a:t>L’expert sera le plus descriptif possible</a:t>
            </a:r>
          </a:p>
          <a:p>
            <a:endParaRPr lang="fr-FR" dirty="0"/>
          </a:p>
          <a:p>
            <a:pPr lvl="1"/>
            <a:r>
              <a:rPr lang="fr-FR" dirty="0"/>
              <a:t>Indemnisation variable selon la gravité et la permanence de l’atteinte</a:t>
            </a:r>
          </a:p>
          <a:p>
            <a:pPr lvl="1"/>
            <a:endParaRPr lang="fr-FR" dirty="0"/>
          </a:p>
          <a:p>
            <a:pPr lvl="1"/>
            <a:r>
              <a:rPr lang="fr-FR" dirty="0"/>
              <a:t>Objectif : réparation intégrale du dommage corporel</a:t>
            </a:r>
          </a:p>
          <a:p>
            <a:pPr algn="just"/>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dirty="0"/>
              <a:t>Préjudice sexuel &amp; dommage corporel – Dr R, GOLDET</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47</a:t>
            </a:fld>
            <a:endParaRPr lang="fr-FR" dirty="0"/>
          </a:p>
        </p:txBody>
      </p:sp>
    </p:spTree>
    <p:extLst>
      <p:ext uri="{BB962C8B-B14F-4D97-AF65-F5344CB8AC3E}">
        <p14:creationId xmlns:p14="http://schemas.microsoft.com/office/powerpoint/2010/main" val="42635640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 préjudice sexuel, conclusion</a:t>
            </a:r>
          </a:p>
        </p:txBody>
      </p:sp>
      <p:sp>
        <p:nvSpPr>
          <p:cNvPr id="3" name="Espace réservé du contenu 2"/>
          <p:cNvSpPr>
            <a:spLocks noGrp="1"/>
          </p:cNvSpPr>
          <p:nvPr>
            <p:ph idx="1"/>
          </p:nvPr>
        </p:nvSpPr>
        <p:spPr/>
        <p:txBody>
          <a:bodyPr/>
          <a:lstStyle/>
          <a:p>
            <a:pPr lvl="1"/>
            <a:r>
              <a:rPr lang="fr-FR" dirty="0"/>
              <a:t>Le préjudice sexuel du blessé médullaire : atteinte à l’intimité et à la dignité</a:t>
            </a:r>
          </a:p>
          <a:p>
            <a:pPr lvl="1"/>
            <a:endParaRPr lang="fr-FR" dirty="0"/>
          </a:p>
          <a:p>
            <a:pPr lvl="1"/>
            <a:r>
              <a:rPr lang="fr-FR" dirty="0"/>
              <a:t>Le droit reconnaît la sexualité comme une composante essentielle de la personnalité</a:t>
            </a:r>
          </a:p>
          <a:p>
            <a:pPr lvl="1"/>
            <a:endParaRPr lang="fr-FR" dirty="0"/>
          </a:p>
          <a:p>
            <a:pPr lvl="1"/>
            <a:r>
              <a:rPr lang="fr-FR" dirty="0"/>
              <a:t>Humanisation de la réparation et individualisation de l’indemnisation</a:t>
            </a:r>
          </a:p>
          <a:p>
            <a:endParaRPr lang="fr-FR" dirty="0"/>
          </a:p>
        </p:txBody>
      </p:sp>
      <p:pic>
        <p:nvPicPr>
          <p:cNvPr id="4" name="Image 3" descr="cid:image002.png@01DB7BAA.E26E5560">
            <a:hlinkClick r:id="rId2"/>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971174" y="4065876"/>
            <a:ext cx="4319905" cy="1349375"/>
          </a:xfrm>
          <a:prstGeom prst="rect">
            <a:avLst/>
          </a:prstGeom>
          <a:noFill/>
          <a:ln>
            <a:noFill/>
          </a:ln>
        </p:spPr>
      </p:pic>
    </p:spTree>
    <p:extLst>
      <p:ext uri="{BB962C8B-B14F-4D97-AF65-F5344CB8AC3E}">
        <p14:creationId xmlns:p14="http://schemas.microsoft.com/office/powerpoint/2010/main" val="20591968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a:xfrm>
            <a:off x="756743" y="941831"/>
            <a:ext cx="5339255" cy="1882331"/>
          </a:xfrm>
        </p:spPr>
        <p:txBody>
          <a:bodyPr/>
          <a:lstStyle/>
          <a:p>
            <a:pPr algn="l"/>
            <a:r>
              <a:rPr lang="fr-FR" dirty="0"/>
              <a:t>Préjudices extra-patrimoniaux hors déficit fonctionnel  </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a:xfrm>
            <a:off x="756742" y="3227832"/>
            <a:ext cx="5781218" cy="576072"/>
          </a:xfrm>
        </p:spPr>
        <p:txBody>
          <a:bodyPr/>
          <a:lstStyle/>
          <a:p>
            <a:pPr algn="l"/>
            <a:r>
              <a:rPr lang="fr-FR" sz="2400" b="1" dirty="0"/>
              <a:t>FOCUS SUR LE PREJUDICE SEXUEL</a:t>
            </a:r>
          </a:p>
          <a:p>
            <a:pPr algn="l"/>
            <a:endParaRPr lang="fr-FR" sz="2400" dirty="0"/>
          </a:p>
          <a:p>
            <a:pPr algn="l"/>
            <a:r>
              <a:rPr lang="fr-FR" sz="2400" dirty="0"/>
              <a:t>Maître Lynda LETTAT-OUATAH</a:t>
            </a:r>
          </a:p>
          <a:p>
            <a:pPr algn="l"/>
            <a:r>
              <a:rPr lang="fr-FR" sz="2000" dirty="0"/>
              <a:t>Avocate spécialisée en Droit du Dommage Corporel</a:t>
            </a:r>
          </a:p>
          <a:p>
            <a:pPr algn="l"/>
            <a:r>
              <a:rPr lang="fr-FR" sz="2000" dirty="0"/>
              <a:t>Membre de l’ANADAVI</a:t>
            </a:r>
          </a:p>
        </p:txBody>
      </p:sp>
    </p:spTree>
    <p:extLst>
      <p:ext uri="{BB962C8B-B14F-4D97-AF65-F5344CB8AC3E}">
        <p14:creationId xmlns:p14="http://schemas.microsoft.com/office/powerpoint/2010/main" val="3099215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9A780AF-E051-36A9-426A-02CE0414DAF1}"/>
              </a:ext>
            </a:extLst>
          </p:cNvPr>
          <p:cNvSpPr>
            <a:spLocks noGrp="1"/>
          </p:cNvSpPr>
          <p:nvPr>
            <p:ph type="title"/>
          </p:nvPr>
        </p:nvSpPr>
        <p:spPr/>
        <p:txBody>
          <a:bodyPr/>
          <a:lstStyle/>
          <a:p>
            <a:r>
              <a:rPr lang="fr-FR" dirty="0"/>
              <a:t>Le préjudice esthétique temporaire</a:t>
            </a:r>
          </a:p>
        </p:txBody>
      </p:sp>
      <p:sp>
        <p:nvSpPr>
          <p:cNvPr id="3" name="Espace réservé du contenu 2">
            <a:extLst>
              <a:ext uri="{FF2B5EF4-FFF2-40B4-BE49-F238E27FC236}">
                <a16:creationId xmlns:a16="http://schemas.microsoft.com/office/drawing/2014/main" id="{FC2BE76C-544E-2F43-373E-867D49DECFCC}"/>
              </a:ext>
            </a:extLst>
          </p:cNvPr>
          <p:cNvSpPr>
            <a:spLocks noGrp="1"/>
          </p:cNvSpPr>
          <p:nvPr>
            <p:ph idx="1"/>
          </p:nvPr>
        </p:nvSpPr>
        <p:spPr>
          <a:xfrm>
            <a:off x="838200" y="1284347"/>
            <a:ext cx="6119949" cy="4519553"/>
          </a:xfrm>
        </p:spPr>
        <p:txBody>
          <a:bodyPr/>
          <a:lstStyle/>
          <a:p>
            <a:pPr algn="just"/>
            <a:r>
              <a:rPr lang="fr-FR" dirty="0"/>
              <a:t>Il a été observé que, durant la maladie traumatique, la victime subissait bien souvent des atteintes physiques, voire une altération de son apparence physique, certes temporaire, mais aux conséquences personnelles très préjudiciables, liée à la nécessité de se présenter dans un état physique altéré au regard des tiers. </a:t>
            </a:r>
          </a:p>
          <a:p>
            <a:pPr algn="just"/>
            <a:r>
              <a:rPr lang="fr-FR" dirty="0"/>
              <a:t>Or, ce type de préjudice est souvent pris en compte au stade des préjudices extra-patrimoniaux permanents, mais curieusement omis de toute indemnisation au titre de la maladie traumatique où il est pourtant présent, notamment chez les grands brûlés ou les traumatisés de la face. </a:t>
            </a:r>
          </a:p>
          <a:p>
            <a:pPr algn="just"/>
            <a:r>
              <a:rPr lang="fr-FR" dirty="0"/>
              <a:t>Aussi, le groupe de travail a décidé d’admettre, à titre de poste distinct, ce chef de préjudice réparant le préjudice esthétique temporaire.</a:t>
            </a:r>
          </a:p>
        </p:txBody>
      </p:sp>
      <p:sp>
        <p:nvSpPr>
          <p:cNvPr id="4" name="Légende : encadrée à une bordure 3">
            <a:extLst>
              <a:ext uri="{FF2B5EF4-FFF2-40B4-BE49-F238E27FC236}">
                <a16:creationId xmlns:a16="http://schemas.microsoft.com/office/drawing/2014/main" id="{668884A7-C65D-FA37-E39D-646C5E3E1105}"/>
              </a:ext>
            </a:extLst>
          </p:cNvPr>
          <p:cNvSpPr/>
          <p:nvPr/>
        </p:nvSpPr>
        <p:spPr>
          <a:xfrm>
            <a:off x="8106032" y="1366932"/>
            <a:ext cx="2899041" cy="1161975"/>
          </a:xfrm>
          <a:prstGeom prst="borderCallout1">
            <a:avLst>
              <a:gd name="adj1" fmla="val 48526"/>
              <a:gd name="adj2" fmla="val 192"/>
              <a:gd name="adj3" fmla="val 74341"/>
              <a:gd name="adj4" fmla="val -62557"/>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Où est le substantif ?</a:t>
            </a:r>
          </a:p>
        </p:txBody>
      </p:sp>
      <p:sp>
        <p:nvSpPr>
          <p:cNvPr id="8" name="Légende : encadrée à une bordure 3">
            <a:extLst>
              <a:ext uri="{FF2B5EF4-FFF2-40B4-BE49-F238E27FC236}">
                <a16:creationId xmlns:a16="http://schemas.microsoft.com/office/drawing/2014/main" id="{3DB99CEC-7FA7-1342-12BA-C8875C36582D}"/>
              </a:ext>
            </a:extLst>
          </p:cNvPr>
          <p:cNvSpPr/>
          <p:nvPr/>
        </p:nvSpPr>
        <p:spPr>
          <a:xfrm>
            <a:off x="8106032" y="3063717"/>
            <a:ext cx="2899041" cy="1161975"/>
          </a:xfrm>
          <a:prstGeom prst="borderCallout1">
            <a:avLst>
              <a:gd name="adj1" fmla="val 48526"/>
              <a:gd name="adj2" fmla="val 192"/>
              <a:gd name="adj3" fmla="val 58729"/>
              <a:gd name="adj4" fmla="val -40565"/>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Nœud à problème</a:t>
            </a:r>
          </a:p>
        </p:txBody>
      </p:sp>
    </p:spTree>
    <p:extLst>
      <p:ext uri="{BB962C8B-B14F-4D97-AF65-F5344CB8AC3E}">
        <p14:creationId xmlns:p14="http://schemas.microsoft.com/office/powerpoint/2010/main" val="1047405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339255" cy="2387600"/>
          </a:xfrm>
        </p:spPr>
        <p:txBody>
          <a:bodyPr/>
          <a:lstStyle/>
          <a:p>
            <a:r>
              <a:rPr lang="fr-FR" dirty="0"/>
              <a:t>Le préjudice sexuel : nouvelles méthodes de calcul </a:t>
            </a:r>
          </a:p>
        </p:txBody>
      </p:sp>
    </p:spTree>
    <p:extLst>
      <p:ext uri="{BB962C8B-B14F-4D97-AF65-F5344CB8AC3E}">
        <p14:creationId xmlns:p14="http://schemas.microsoft.com/office/powerpoint/2010/main" val="17448005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Préjudice sexuel : définition</a:t>
            </a:r>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dirty="0"/>
              <a:t>Il résulte de la nomenclature Dintilhac que ce poste de préjudice recouvre trois aspects qui peuvent être altérés séparément ou cumulativement, partiellement ou totalement : </a:t>
            </a:r>
          </a:p>
          <a:p>
            <a:endParaRPr lang="fr-FR" dirty="0"/>
          </a:p>
          <a:p>
            <a:pPr lvl="1"/>
            <a:r>
              <a:rPr lang="fr-FR" dirty="0"/>
              <a:t>L’aspect morphologique qui est lié à l’atteinte aux organes sexuels primaires et secondaires résultant du dommage subi ;</a:t>
            </a:r>
          </a:p>
          <a:p>
            <a:pPr lvl="1"/>
            <a:endParaRPr lang="fr-FR" dirty="0"/>
          </a:p>
          <a:p>
            <a:pPr lvl="1"/>
            <a:r>
              <a:rPr lang="fr-FR" dirty="0"/>
              <a:t>Le préjudice lié à l’acte sexuel lui-même qui repose sur la perte du plaisir lié à l’accomplissement de l’acte sexuel (perte de l’envie ou de la libido, perte de la capacité physique de réaliser l’acte, perte de la capacité à accéder au plaisir) ;</a:t>
            </a:r>
          </a:p>
          <a:p>
            <a:pPr lvl="1"/>
            <a:endParaRPr lang="fr-FR" dirty="0"/>
          </a:p>
          <a:p>
            <a:pPr lvl="1"/>
            <a:r>
              <a:rPr lang="fr-FR" dirty="0"/>
              <a:t>Le préjudice lié à une impossibilité ou une difficulté à procréer. </a:t>
            </a:r>
          </a:p>
          <a:p>
            <a:pPr lvl="1"/>
            <a:endParaRPr lang="fr-FR" dirty="0"/>
          </a:p>
          <a:p>
            <a:pPr lvl="1"/>
            <a:r>
              <a:rPr lang="fr-FR" dirty="0"/>
              <a:t>Voir notamment : Cass., </a:t>
            </a:r>
            <a:r>
              <a:rPr lang="fr-FR" dirty="0" err="1"/>
              <a:t>Civ</a:t>
            </a:r>
            <a:r>
              <a:rPr lang="fr-FR" dirty="0"/>
              <a:t>. 2</a:t>
            </a:r>
            <a:r>
              <a:rPr lang="fr-FR" baseline="30000" dirty="0"/>
              <a:t>ème</a:t>
            </a:r>
            <a:r>
              <a:rPr lang="fr-FR" dirty="0"/>
              <a:t>, 17 juin 2010, n° 09-15.842</a:t>
            </a:r>
          </a:p>
          <a:p>
            <a:pPr lvl="2"/>
            <a:endParaRPr lang="fr-FR" dirty="0"/>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51</a:t>
            </a:fld>
            <a:endParaRPr lang="fr-FR"/>
          </a:p>
        </p:txBody>
      </p:sp>
    </p:spTree>
    <p:extLst>
      <p:ext uri="{BB962C8B-B14F-4D97-AF65-F5344CB8AC3E}">
        <p14:creationId xmlns:p14="http://schemas.microsoft.com/office/powerpoint/2010/main" val="37220335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248F09-E927-5B30-3D61-D1DF81CBF3DB}"/>
              </a:ext>
            </a:extLst>
          </p:cNvPr>
          <p:cNvSpPr>
            <a:spLocks noGrp="1"/>
          </p:cNvSpPr>
          <p:nvPr>
            <p:ph type="title"/>
          </p:nvPr>
        </p:nvSpPr>
        <p:spPr>
          <a:xfrm>
            <a:off x="838200" y="365126"/>
            <a:ext cx="9321800" cy="919221"/>
          </a:xfrm>
        </p:spPr>
        <p:txBody>
          <a:bodyPr/>
          <a:lstStyle/>
          <a:p>
            <a:r>
              <a:rPr lang="fr-FR" dirty="0"/>
              <a:t>Préjudice sexuel : définition</a:t>
            </a:r>
          </a:p>
        </p:txBody>
      </p:sp>
      <p:sp>
        <p:nvSpPr>
          <p:cNvPr id="3" name="Espace réservé du contenu 2">
            <a:extLst>
              <a:ext uri="{FF2B5EF4-FFF2-40B4-BE49-F238E27FC236}">
                <a16:creationId xmlns:a16="http://schemas.microsoft.com/office/drawing/2014/main" id="{81F11598-6FF8-6035-5DBC-680B24D3597D}"/>
              </a:ext>
            </a:extLst>
          </p:cNvPr>
          <p:cNvSpPr>
            <a:spLocks noGrp="1"/>
          </p:cNvSpPr>
          <p:nvPr>
            <p:ph idx="1"/>
          </p:nvPr>
        </p:nvSpPr>
        <p:spPr>
          <a:xfrm>
            <a:off x="838200" y="1825625"/>
            <a:ext cx="10515600" cy="3978275"/>
          </a:xfrm>
        </p:spPr>
        <p:txBody>
          <a:bodyPr/>
          <a:lstStyle/>
          <a:p>
            <a:r>
              <a:rPr lang="fr-FR" dirty="0"/>
              <a:t>La Cour de cassation a récemment rappelé que le préjudice sexuel comprend l'ensemble des préjudices touchant à la sphère sexuelle, et notamment la gêne positionnelle, qui peut de fait être considéré comme son quatrième aspect.</a:t>
            </a:r>
          </a:p>
          <a:p>
            <a:pPr lvl="1">
              <a:spcBef>
                <a:spcPts val="1200"/>
              </a:spcBef>
            </a:pPr>
            <a:r>
              <a:rPr lang="fr-FR" dirty="0"/>
              <a:t> </a:t>
            </a:r>
            <a:r>
              <a:rPr lang="fr-FR" b="1" dirty="0" err="1"/>
              <a:t>Civ</a:t>
            </a:r>
            <a:r>
              <a:rPr lang="fr-FR" b="1" dirty="0"/>
              <a:t>. 2</a:t>
            </a:r>
            <a:r>
              <a:rPr lang="fr-FR" b="1" baseline="30000" dirty="0"/>
              <a:t>ème</a:t>
            </a:r>
            <a:r>
              <a:rPr lang="fr-FR" b="1" dirty="0"/>
              <a:t>, 4 avril 2019, n° 18-13.704</a:t>
            </a:r>
          </a:p>
          <a:p>
            <a:endParaRPr lang="fr-FR" dirty="0"/>
          </a:p>
          <a:p>
            <a:r>
              <a:rPr lang="fr-FR" dirty="0"/>
              <a:t>Le poste </a:t>
            </a:r>
            <a:r>
              <a:rPr lang="fr-FR" dirty="0" err="1"/>
              <a:t>préjudice</a:t>
            </a:r>
            <a:r>
              <a:rPr lang="fr-FR" dirty="0"/>
              <a:t> sexuel, qui comprend tous les </a:t>
            </a:r>
            <a:r>
              <a:rPr lang="fr-FR" dirty="0" err="1"/>
              <a:t>préjudices</a:t>
            </a:r>
            <a:r>
              <a:rPr lang="fr-FR" dirty="0"/>
              <a:t> touchant à la </a:t>
            </a:r>
            <a:r>
              <a:rPr lang="fr-FR" dirty="0" err="1"/>
              <a:t>sphère</a:t>
            </a:r>
            <a:r>
              <a:rPr lang="fr-FR" dirty="0"/>
              <a:t> sexuelle, constitue un </a:t>
            </a:r>
            <a:r>
              <a:rPr lang="fr-FR" dirty="0" err="1"/>
              <a:t>préjudice</a:t>
            </a:r>
            <a:r>
              <a:rPr lang="fr-FR" dirty="0"/>
              <a:t> permanent à </a:t>
            </a:r>
            <a:r>
              <a:rPr lang="fr-FR" dirty="0" err="1"/>
              <a:t>caractère</a:t>
            </a:r>
            <a:r>
              <a:rPr lang="fr-FR" dirty="0"/>
              <a:t> personnel, distinct du poste du </a:t>
            </a:r>
            <a:r>
              <a:rPr lang="fr-FR" dirty="0" err="1"/>
              <a:t>déficit</a:t>
            </a:r>
            <a:r>
              <a:rPr lang="fr-FR" dirty="0"/>
              <a:t> fonctionnel permanent.</a:t>
            </a:r>
          </a:p>
          <a:p>
            <a:pPr lvl="1">
              <a:spcBef>
                <a:spcPts val="1200"/>
              </a:spcBef>
            </a:pPr>
            <a:r>
              <a:rPr lang="fr-FR" b="1" dirty="0"/>
              <a:t>Civ.2</a:t>
            </a:r>
            <a:r>
              <a:rPr lang="fr-FR" b="1" baseline="30000" dirty="0"/>
              <a:t>ème</a:t>
            </a:r>
            <a:r>
              <a:rPr lang="fr-FR" b="1" dirty="0"/>
              <a:t> 10 octobre 2024, n°22-22642, publié au bulletin</a:t>
            </a:r>
          </a:p>
          <a:p>
            <a:endParaRPr lang="fr-FR" dirty="0"/>
          </a:p>
          <a:p>
            <a:r>
              <a:rPr lang="fr-FR" dirty="0"/>
              <a:t>Par ailleurs, le barème référentiel fréquemment utilisés par les Cours d’Appel et réalisé par Monsieur Benoit MORNET mentionne explicitement que </a:t>
            </a:r>
            <a:r>
              <a:rPr lang="fr-FR" i="1" dirty="0"/>
              <a:t>« l’évaluation de ce préjudice doit être modulée en fonction du </a:t>
            </a:r>
            <a:r>
              <a:rPr lang="fr-FR" b="1" i="1" dirty="0"/>
              <a:t>retentissement subjectif de la fonction sexuelle selon l’âge et la situation familiale de la victime. »</a:t>
            </a:r>
          </a:p>
          <a:p>
            <a:endParaRPr lang="fr-FR" dirty="0"/>
          </a:p>
        </p:txBody>
      </p:sp>
    </p:spTree>
    <p:extLst>
      <p:ext uri="{BB962C8B-B14F-4D97-AF65-F5344CB8AC3E}">
        <p14:creationId xmlns:p14="http://schemas.microsoft.com/office/powerpoint/2010/main" val="32131570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88EDE-72D4-4D6D-BFA0-20CEC735392F}"/>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EC050C9-794B-8C4B-0932-D07D7D394F8F}"/>
              </a:ext>
            </a:extLst>
          </p:cNvPr>
          <p:cNvSpPr>
            <a:spLocks noGrp="1"/>
          </p:cNvSpPr>
          <p:nvPr>
            <p:ph type="title"/>
          </p:nvPr>
        </p:nvSpPr>
        <p:spPr/>
        <p:txBody>
          <a:bodyPr/>
          <a:lstStyle/>
          <a:p>
            <a:r>
              <a:rPr lang="fr-FR" dirty="0"/>
              <a:t>Préjudice sexuel et hypersexualité : élargissement jurisprudentiel</a:t>
            </a:r>
          </a:p>
        </p:txBody>
      </p:sp>
      <p:sp>
        <p:nvSpPr>
          <p:cNvPr id="3" name="Espace réservé du contenu 2">
            <a:extLst>
              <a:ext uri="{FF2B5EF4-FFF2-40B4-BE49-F238E27FC236}">
                <a16:creationId xmlns:a16="http://schemas.microsoft.com/office/drawing/2014/main" id="{8C90126A-2F7E-5547-B27E-B734F71EF5AE}"/>
              </a:ext>
            </a:extLst>
          </p:cNvPr>
          <p:cNvSpPr>
            <a:spLocks noGrp="1"/>
          </p:cNvSpPr>
          <p:nvPr>
            <p:ph idx="1"/>
          </p:nvPr>
        </p:nvSpPr>
        <p:spPr/>
        <p:txBody>
          <a:bodyPr/>
          <a:lstStyle/>
          <a:p>
            <a:endParaRPr lang="fr-FR" i="1" dirty="0"/>
          </a:p>
          <a:p>
            <a:endParaRPr lang="fr-FR" sz="2000" i="1" dirty="0"/>
          </a:p>
          <a:p>
            <a:pPr algn="just"/>
            <a:r>
              <a:rPr lang="fr-FR" sz="2000" i="1" dirty="0"/>
              <a:t>« Le préjudice sexuel (troubles de la libido). Une modification de la libido a été à l'origine de difficultés au sein du couple. Une hypersexualité majeure a été signalée correspondant à la période de soins et a été partiellement résolutive par la suite devant être retenue post-consolidation. Il convient de lui allouer à ce titre un montant de 8 000 euros »</a:t>
            </a:r>
            <a:endParaRPr lang="fr-FR" sz="2000" dirty="0"/>
          </a:p>
          <a:p>
            <a:r>
              <a:rPr lang="fr-FR" sz="2000" b="1" dirty="0"/>
              <a:t> </a:t>
            </a:r>
            <a:endParaRPr lang="fr-FR" sz="2000" dirty="0"/>
          </a:p>
          <a:p>
            <a:r>
              <a:rPr lang="fr-FR" b="1" dirty="0"/>
              <a:t>CA de Paris, 29 mars 2024, n°24/000216</a:t>
            </a:r>
            <a:endParaRPr lang="fr-FR" dirty="0"/>
          </a:p>
          <a:p>
            <a:endParaRPr lang="fr-FR" dirty="0"/>
          </a:p>
        </p:txBody>
      </p:sp>
    </p:spTree>
    <p:extLst>
      <p:ext uri="{BB962C8B-B14F-4D97-AF65-F5344CB8AC3E}">
        <p14:creationId xmlns:p14="http://schemas.microsoft.com/office/powerpoint/2010/main" val="1679996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A1305A-ABDB-4125-7D78-47E38D848287}"/>
              </a:ext>
            </a:extLst>
          </p:cNvPr>
          <p:cNvSpPr>
            <a:spLocks noGrp="1"/>
          </p:cNvSpPr>
          <p:nvPr>
            <p:ph type="title"/>
          </p:nvPr>
        </p:nvSpPr>
        <p:spPr>
          <a:xfrm>
            <a:off x="838200" y="365126"/>
            <a:ext cx="9321800" cy="919221"/>
          </a:xfrm>
        </p:spPr>
        <p:txBody>
          <a:bodyPr/>
          <a:lstStyle/>
          <a:p>
            <a:r>
              <a:rPr lang="fr-FR" dirty="0"/>
              <a:t>Préjudice sexuel : Une indemnisation forfaitaire incomplète </a:t>
            </a:r>
          </a:p>
        </p:txBody>
      </p:sp>
      <p:sp>
        <p:nvSpPr>
          <p:cNvPr id="3" name="Espace réservé du contenu 2">
            <a:extLst>
              <a:ext uri="{FF2B5EF4-FFF2-40B4-BE49-F238E27FC236}">
                <a16:creationId xmlns:a16="http://schemas.microsoft.com/office/drawing/2014/main" id="{F4B7BDCA-FA56-FD59-A206-03DC3D8AA8F9}"/>
              </a:ext>
            </a:extLst>
          </p:cNvPr>
          <p:cNvSpPr>
            <a:spLocks noGrp="1"/>
          </p:cNvSpPr>
          <p:nvPr>
            <p:ph idx="1"/>
          </p:nvPr>
        </p:nvSpPr>
        <p:spPr>
          <a:xfrm>
            <a:off x="838200" y="1635125"/>
            <a:ext cx="10515600" cy="4641850"/>
          </a:xfrm>
        </p:spPr>
        <p:txBody>
          <a:bodyPr/>
          <a:lstStyle/>
          <a:p>
            <a:r>
              <a:rPr lang="fr-FR" dirty="0"/>
              <a:t>Actuellement =&gt; Indemnisation forfaitaire du préjudice sexuel : </a:t>
            </a:r>
          </a:p>
          <a:p>
            <a:pPr lvl="1"/>
            <a:r>
              <a:rPr lang="fr-FR" dirty="0"/>
              <a:t>Une somme de 50.000 euros allouée à une femme de 35 ans au jour de la consolidation (DFP de 50 % : para paresthésie, troubles sphinctériens, phénomènes douloureux) : </a:t>
            </a:r>
            <a:r>
              <a:rPr lang="fr-FR" b="1" dirty="0"/>
              <a:t>TJ de Caen, 1</a:t>
            </a:r>
            <a:r>
              <a:rPr lang="fr-FR" b="1" baseline="30000" dirty="0"/>
              <a:t>ère</a:t>
            </a:r>
            <a:r>
              <a:rPr lang="fr-FR" b="1" dirty="0"/>
              <a:t> chambre civile, </a:t>
            </a:r>
            <a:br>
              <a:rPr lang="fr-FR" b="1" dirty="0"/>
            </a:br>
            <a:r>
              <a:rPr lang="fr-FR" b="1" dirty="0"/>
              <a:t>15 octobre 2021, n°20/00507</a:t>
            </a:r>
          </a:p>
          <a:p>
            <a:pPr lvl="1"/>
            <a:r>
              <a:rPr lang="fr-FR" dirty="0"/>
              <a:t>Une somme de 35.000 euros alloué à un homme de 25 ans au jour de la consolidation (DFP de 90% : Hémiplégie gauche, paralysie du membre supérieur droit, troubles cognitifs avec syndrome dysexécutif, troubles mnésiques sévères, syndrome dépressif, troubles visuels) </a:t>
            </a:r>
            <a:r>
              <a:rPr lang="fr-FR" b="1" dirty="0"/>
              <a:t>: CA de Lyon, 10 mai 2022, n°20/03452</a:t>
            </a:r>
          </a:p>
          <a:p>
            <a:pPr lvl="1"/>
            <a:r>
              <a:rPr lang="fr-FR" dirty="0"/>
              <a:t>Une somme de 20.000 euros alloué à un homme de 37 ans au jour de la consolidation (DFP de 60% : Hémiplégie gauche, paralysie radiale gauche, retentissement psychologique) : </a:t>
            </a:r>
            <a:r>
              <a:rPr lang="fr-FR" b="1" dirty="0"/>
              <a:t>CA de Paris, Pôle 4 - chambre 11, 12 mai 2022, n°20/01152</a:t>
            </a:r>
          </a:p>
          <a:p>
            <a:r>
              <a:rPr lang="fr-FR" dirty="0"/>
              <a:t>Or, il est évident que ce retentissement ne peut pas, pour le moment, être évalué par les juridictions en l’absence d’une méthode précise de calcul du préjudice sexuel prenant en compte tant </a:t>
            </a:r>
            <a:r>
              <a:rPr lang="fr-FR" b="1" dirty="0"/>
              <a:t>l’âge de la victime</a:t>
            </a:r>
            <a:r>
              <a:rPr lang="fr-FR" dirty="0"/>
              <a:t>, qui revêt une importance capitale puisque la vie sexuelle d’une personne est en partie influencée par ce facteur, que la </a:t>
            </a:r>
            <a:r>
              <a:rPr lang="fr-FR" b="1" dirty="0"/>
              <a:t>nature de ce préjudice sexuel </a:t>
            </a:r>
            <a:r>
              <a:rPr lang="fr-FR" dirty="0"/>
              <a:t>et son </a:t>
            </a:r>
            <a:r>
              <a:rPr lang="fr-FR" b="1" dirty="0"/>
              <a:t>intensité</a:t>
            </a:r>
            <a:r>
              <a:rPr lang="fr-FR" dirty="0"/>
              <a:t>. </a:t>
            </a:r>
          </a:p>
          <a:p>
            <a:r>
              <a:rPr lang="fr-FR" dirty="0"/>
              <a:t>La méthode « OUATAH » proposée tient compte de tous ces critères.</a:t>
            </a:r>
          </a:p>
        </p:txBody>
      </p:sp>
    </p:spTree>
    <p:extLst>
      <p:ext uri="{BB962C8B-B14F-4D97-AF65-F5344CB8AC3E}">
        <p14:creationId xmlns:p14="http://schemas.microsoft.com/office/powerpoint/2010/main" val="6905141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F5CBFE-0DB5-2169-E016-E07F4E86DAA6}"/>
              </a:ext>
            </a:extLst>
          </p:cNvPr>
          <p:cNvSpPr>
            <a:spLocks noGrp="1"/>
          </p:cNvSpPr>
          <p:nvPr>
            <p:ph type="title"/>
          </p:nvPr>
        </p:nvSpPr>
        <p:spPr/>
        <p:txBody>
          <a:bodyPr/>
          <a:lstStyle/>
          <a:p>
            <a:pPr algn="just"/>
            <a:r>
              <a:rPr lang="fr-FR" dirty="0"/>
              <a:t>Préjudice sexuel : sur le coût à envisager </a:t>
            </a:r>
          </a:p>
        </p:txBody>
      </p:sp>
      <p:sp>
        <p:nvSpPr>
          <p:cNvPr id="3" name="Espace réservé du contenu 2">
            <a:extLst>
              <a:ext uri="{FF2B5EF4-FFF2-40B4-BE49-F238E27FC236}">
                <a16:creationId xmlns:a16="http://schemas.microsoft.com/office/drawing/2014/main" id="{C1CFB8D4-AD86-9F24-877A-436E12F993A4}"/>
              </a:ext>
            </a:extLst>
          </p:cNvPr>
          <p:cNvSpPr>
            <a:spLocks noGrp="1"/>
          </p:cNvSpPr>
          <p:nvPr>
            <p:ph idx="1"/>
          </p:nvPr>
        </p:nvSpPr>
        <p:spPr>
          <a:xfrm>
            <a:off x="838200" y="1284347"/>
            <a:ext cx="10515600" cy="3978275"/>
          </a:xfrm>
        </p:spPr>
        <p:txBody>
          <a:bodyPr/>
          <a:lstStyle/>
          <a:p>
            <a:r>
              <a:rPr lang="fr-FR" dirty="0"/>
              <a:t>Il ne peut être nié que le coût d’un rapport sexuel peut difficilement être évalué, puisqu’il apparait compliqué de tarifer des relations intimes qui interviennent dans un cadre personnel et non professionnel mais :</a:t>
            </a:r>
          </a:p>
          <a:p>
            <a:endParaRPr lang="fr-FR" dirty="0"/>
          </a:p>
          <a:p>
            <a:endParaRPr lang="fr-FR" dirty="0"/>
          </a:p>
        </p:txBody>
      </p:sp>
      <p:graphicFrame>
        <p:nvGraphicFramePr>
          <p:cNvPr id="4" name="Tableau 3">
            <a:extLst>
              <a:ext uri="{FF2B5EF4-FFF2-40B4-BE49-F238E27FC236}">
                <a16:creationId xmlns:a16="http://schemas.microsoft.com/office/drawing/2014/main" id="{1D9878C3-AD4C-0786-3761-D251BBADB052}"/>
              </a:ext>
            </a:extLst>
          </p:cNvPr>
          <p:cNvGraphicFramePr>
            <a:graphicFrameLocks noGrp="1"/>
          </p:cNvGraphicFramePr>
          <p:nvPr>
            <p:extLst>
              <p:ext uri="{D42A27DB-BD31-4B8C-83A1-F6EECF244321}">
                <p14:modId xmlns:p14="http://schemas.microsoft.com/office/powerpoint/2010/main" val="224384140"/>
              </p:ext>
            </p:extLst>
          </p:nvPr>
        </p:nvGraphicFramePr>
        <p:xfrm>
          <a:off x="955249" y="2203568"/>
          <a:ext cx="10281502" cy="3511432"/>
        </p:xfrm>
        <a:graphic>
          <a:graphicData uri="http://schemas.openxmlformats.org/drawingml/2006/table">
            <a:tbl>
              <a:tblPr firstRow="1" bandRow="1">
                <a:tableStyleId>{5C22544A-7EE6-4342-B048-85BDC9FD1C3A}</a:tableStyleId>
              </a:tblPr>
              <a:tblGrid>
                <a:gridCol w="5140751">
                  <a:extLst>
                    <a:ext uri="{9D8B030D-6E8A-4147-A177-3AD203B41FA5}">
                      <a16:colId xmlns:a16="http://schemas.microsoft.com/office/drawing/2014/main" val="3821274993"/>
                    </a:ext>
                  </a:extLst>
                </a:gridCol>
                <a:gridCol w="5140751">
                  <a:extLst>
                    <a:ext uri="{9D8B030D-6E8A-4147-A177-3AD203B41FA5}">
                      <a16:colId xmlns:a16="http://schemas.microsoft.com/office/drawing/2014/main" val="788807443"/>
                    </a:ext>
                  </a:extLst>
                </a:gridCol>
              </a:tblGrid>
              <a:tr h="567941">
                <a:tc>
                  <a:txBody>
                    <a:bodyPr/>
                    <a:lstStyle/>
                    <a:p>
                      <a:r>
                        <a:rPr lang="fr-FR" dirty="0"/>
                        <a:t>Sources</a:t>
                      </a:r>
                    </a:p>
                  </a:txBody>
                  <a:tcPr anchor="ctr">
                    <a:solidFill>
                      <a:schemeClr val="bg2"/>
                    </a:solidFill>
                  </a:tcPr>
                </a:tc>
                <a:tc>
                  <a:txBody>
                    <a:bodyPr/>
                    <a:lstStyle/>
                    <a:p>
                      <a:r>
                        <a:rPr lang="fr-FR" dirty="0"/>
                        <a:t>Tarification des « professionnel(les) »</a:t>
                      </a:r>
                    </a:p>
                  </a:txBody>
                  <a:tcPr anchor="ctr">
                    <a:solidFill>
                      <a:schemeClr val="bg2"/>
                    </a:solidFill>
                  </a:tcPr>
                </a:tc>
                <a:extLst>
                  <a:ext uri="{0D108BD9-81ED-4DB2-BD59-A6C34878D82A}">
                    <a16:rowId xmlns:a16="http://schemas.microsoft.com/office/drawing/2014/main" val="3748121790"/>
                  </a:ext>
                </a:extLst>
              </a:tr>
              <a:tr h="642370">
                <a:tc>
                  <a:txBody>
                    <a:bodyPr/>
                    <a:lstStyle/>
                    <a:p>
                      <a:pPr algn="l" fontAlgn="auto">
                        <a:spcAft>
                          <a:spcPts val="800"/>
                        </a:spcAft>
                        <a:buNone/>
                        <a:tabLst>
                          <a:tab pos="5220335" algn="r"/>
                          <a:tab pos="6031230" algn="r"/>
                        </a:tabLst>
                      </a:pPr>
                      <a:r>
                        <a:rPr lang="fr-FR" sz="1400" b="1" dirty="0">
                          <a:effectLst/>
                          <a:latin typeface="Aptos" panose="020B0004020202020204" pitchFamily="34" charset="0"/>
                          <a:ea typeface="DIN 2014" panose="020B0504020202020204" pitchFamily="34" charset="0"/>
                          <a:cs typeface="Arial" panose="020B0604020202020204" pitchFamily="34" charset="0"/>
                        </a:rPr>
                        <a:t> </a:t>
                      </a:r>
                      <a:r>
                        <a:rPr lang="fr-FR" sz="1400" b="1" dirty="0">
                          <a:solidFill>
                            <a:srgbClr val="000000"/>
                          </a:solidFill>
                          <a:effectLst/>
                          <a:latin typeface="Aptos" panose="020B0004020202020204" pitchFamily="34" charset="0"/>
                          <a:ea typeface="DIN 2014" panose="020B0504020202020204" pitchFamily="34" charset="0"/>
                          <a:cs typeface="Arial" panose="020B0604020202020204" pitchFamily="34" charset="0"/>
                        </a:rPr>
                        <a:t>M. MAZAURETTE, « Le Sexe quoi qu’il en coute », </a:t>
                      </a:r>
                      <a:br>
                        <a:rPr lang="fr-FR" sz="1400" b="1" dirty="0">
                          <a:solidFill>
                            <a:srgbClr val="000000"/>
                          </a:solidFill>
                          <a:effectLst/>
                          <a:latin typeface="Aptos" panose="020B0004020202020204" pitchFamily="34" charset="0"/>
                          <a:ea typeface="DIN 2014" panose="020B0504020202020204" pitchFamily="34" charset="0"/>
                          <a:cs typeface="Arial" panose="020B0604020202020204" pitchFamily="34" charset="0"/>
                        </a:rPr>
                      </a:br>
                      <a:r>
                        <a:rPr lang="fr-FR" sz="1400" b="1" dirty="0">
                          <a:solidFill>
                            <a:srgbClr val="000000"/>
                          </a:solidFill>
                          <a:effectLst/>
                          <a:latin typeface="Aptos" panose="020B0004020202020204" pitchFamily="34" charset="0"/>
                          <a:ea typeface="DIN 2014" panose="020B0504020202020204" pitchFamily="34" charset="0"/>
                          <a:cs typeface="Arial" panose="020B0604020202020204" pitchFamily="34" charset="0"/>
                        </a:rPr>
                        <a:t>LE MONDE, 22 septembre 2023</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l" fontAlgn="auto">
                        <a:spcAft>
                          <a:spcPts val="800"/>
                        </a:spcAft>
                        <a:buNone/>
                        <a:tabLst>
                          <a:tab pos="5220335" algn="r"/>
                          <a:tab pos="6031230" algn="r"/>
                        </a:tabLst>
                      </a:pPr>
                      <a:r>
                        <a:rPr lang="fr-FR" sz="1400" dirty="0">
                          <a:effectLst/>
                          <a:latin typeface="Aptos" panose="020B0004020202020204" pitchFamily="34" charset="0"/>
                          <a:ea typeface="DIN 2014" panose="020B0504020202020204" pitchFamily="34" charset="0"/>
                          <a:cs typeface="Arial" panose="020B0604020202020204" pitchFamily="34" charset="0"/>
                        </a:rPr>
                        <a:t> </a:t>
                      </a:r>
                      <a:r>
                        <a:rPr lang="fr-FR" sz="1400" dirty="0">
                          <a:solidFill>
                            <a:srgbClr val="000000"/>
                          </a:solidFill>
                          <a:effectLst/>
                          <a:latin typeface="Aptos" panose="020B0004020202020204" pitchFamily="34" charset="0"/>
                          <a:ea typeface="DIN 2014" panose="020B0504020202020204" pitchFamily="34" charset="0"/>
                          <a:cs typeface="Arial" panose="020B0604020202020204" pitchFamily="34" charset="0"/>
                        </a:rPr>
                        <a:t>Coût évoqué : entre</a:t>
                      </a:r>
                      <a:r>
                        <a:rPr lang="fr-FR" sz="1400" b="1" dirty="0">
                          <a:solidFill>
                            <a:srgbClr val="000000"/>
                          </a:solidFill>
                          <a:effectLst/>
                          <a:latin typeface="Aptos" panose="020B0004020202020204" pitchFamily="34" charset="0"/>
                          <a:ea typeface="DIN 2014" panose="020B0504020202020204" pitchFamily="34" charset="0"/>
                          <a:cs typeface="Arial" panose="020B0604020202020204" pitchFamily="34" charset="0"/>
                        </a:rPr>
                        <a:t> 80 et 2.000 euros </a:t>
                      </a:r>
                      <a:r>
                        <a:rPr lang="fr-FR" sz="1400" dirty="0">
                          <a:solidFill>
                            <a:srgbClr val="000000"/>
                          </a:solidFill>
                          <a:effectLst/>
                          <a:latin typeface="Aptos" panose="020B0004020202020204" pitchFamily="34" charset="0"/>
                          <a:ea typeface="DIN 2014" panose="020B0504020202020204" pitchFamily="34" charset="0"/>
                          <a:cs typeface="Arial" panose="020B0604020202020204" pitchFamily="34" charset="0"/>
                        </a:rPr>
                        <a:t>en Franc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922953823"/>
                  </a:ext>
                </a:extLst>
              </a:tr>
              <a:tr h="642370">
                <a:tc>
                  <a:txBody>
                    <a:bodyPr/>
                    <a:lstStyle/>
                    <a:p>
                      <a:pPr algn="l" fontAlgn="auto">
                        <a:spcAft>
                          <a:spcPts val="800"/>
                        </a:spcAft>
                        <a:buNone/>
                        <a:tabLst>
                          <a:tab pos="5220335" algn="r"/>
                          <a:tab pos="6031230" algn="r"/>
                        </a:tabLst>
                      </a:pPr>
                      <a:r>
                        <a:rPr lang="fr-FR" sz="1400" b="1" dirty="0">
                          <a:effectLst/>
                          <a:latin typeface="Aptos" panose="020B0004020202020204" pitchFamily="34" charset="0"/>
                          <a:ea typeface="DIN 2014" panose="020B0504020202020204" pitchFamily="34" charset="0"/>
                          <a:cs typeface="Times New Roman" panose="02020603050405020304" pitchFamily="18" charset="0"/>
                        </a:rPr>
                        <a:t> Site internet SEXEMODEL</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l" fontAlgn="auto">
                        <a:spcAft>
                          <a:spcPts val="800"/>
                        </a:spcAft>
                        <a:buNone/>
                        <a:tabLst>
                          <a:tab pos="5220335" algn="r"/>
                          <a:tab pos="6031230" algn="r"/>
                        </a:tabLst>
                      </a:pPr>
                      <a:r>
                        <a:rPr lang="fr-FR" sz="1400" dirty="0">
                          <a:effectLst/>
                          <a:latin typeface="Aptos" panose="020B0004020202020204" pitchFamily="34" charset="0"/>
                          <a:ea typeface="DIN 2014" panose="020B0504020202020204" pitchFamily="34" charset="0"/>
                          <a:cs typeface="Arial" panose="020B0604020202020204" pitchFamily="34" charset="0"/>
                        </a:rPr>
                        <a:t> </a:t>
                      </a:r>
                      <a:r>
                        <a:rPr lang="fr-FR" sz="1400" dirty="0">
                          <a:effectLst/>
                          <a:latin typeface="Aptos" panose="020B0004020202020204" pitchFamily="34" charset="0"/>
                          <a:ea typeface="DIN 2014" panose="020B0504020202020204" pitchFamily="34" charset="0"/>
                          <a:cs typeface="Times New Roman" panose="02020603050405020304" pitchFamily="18" charset="0"/>
                        </a:rPr>
                        <a:t>A partir de </a:t>
                      </a:r>
                      <a:r>
                        <a:rPr lang="fr-FR" sz="1400" b="1" dirty="0">
                          <a:effectLst/>
                          <a:latin typeface="Aptos" panose="020B0004020202020204" pitchFamily="34" charset="0"/>
                          <a:ea typeface="DIN 2014" panose="020B0504020202020204" pitchFamily="34" charset="0"/>
                          <a:cs typeface="Times New Roman" panose="02020603050405020304" pitchFamily="18" charset="0"/>
                        </a:rPr>
                        <a:t>100 euros (pour 30 minute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386302136"/>
                  </a:ext>
                </a:extLst>
              </a:tr>
              <a:tr h="1658751">
                <a:tc>
                  <a:txBody>
                    <a:bodyPr/>
                    <a:lstStyle/>
                    <a:p>
                      <a:pPr algn="l" fontAlgn="auto">
                        <a:spcAft>
                          <a:spcPts val="800"/>
                        </a:spcAft>
                        <a:buNone/>
                        <a:tabLst>
                          <a:tab pos="5220335" algn="r"/>
                          <a:tab pos="6031230" algn="r"/>
                        </a:tabLst>
                      </a:pPr>
                      <a:r>
                        <a:rPr lang="fr-FR" sz="1400" b="1" dirty="0">
                          <a:effectLst/>
                          <a:latin typeface="Aptos" panose="020B0004020202020204" pitchFamily="34" charset="0"/>
                          <a:ea typeface="Times New Roman" panose="02020603050405020304" pitchFamily="18" charset="0"/>
                          <a:cs typeface="Arial" panose="020B0604020202020204" pitchFamily="34" charset="0"/>
                        </a:rPr>
                        <a:t> </a:t>
                      </a:r>
                      <a:r>
                        <a:rPr lang="fr-FR" sz="1400" b="1"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Clubs suisses  </a:t>
                      </a:r>
                      <a:r>
                        <a:rPr lang="fr-FR" sz="1400" b="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entre 107 et 537 euros)</a:t>
                      </a:r>
                      <a:endParaRPr lang="fr-FR" sz="1400" b="0" dirty="0">
                        <a:effectLst/>
                        <a:latin typeface="DIN 2014" panose="020B0504020202020204" pitchFamily="34" charset="0"/>
                        <a:ea typeface="DIN 2014" panose="020B0504020202020204" pitchFamily="34" charset="0"/>
                        <a:cs typeface="Times New Roman" panose="02020603050405020304" pitchFamily="18" charset="0"/>
                      </a:endParaRPr>
                    </a:p>
                    <a:p>
                      <a:pPr algn="l" fontAlgn="auto">
                        <a:spcAft>
                          <a:spcPts val="800"/>
                        </a:spcAft>
                        <a:buNone/>
                        <a:tabLst>
                          <a:tab pos="5220335" algn="r"/>
                          <a:tab pos="6031230" algn="r"/>
                        </a:tabLst>
                      </a:pPr>
                      <a:r>
                        <a:rPr lang="fr-FR" sz="1400" b="1" dirty="0">
                          <a:effectLst/>
                          <a:latin typeface="Aptos" panose="020B0004020202020204" pitchFamily="34" charset="0"/>
                          <a:ea typeface="DIN 2014" panose="020B0504020202020204" pitchFamily="34" charset="0"/>
                          <a:cs typeface="Arial" panose="020B0604020202020204" pitchFamily="34" charset="0"/>
                        </a:rPr>
                        <a:t>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l" fontAlgn="auto">
                        <a:spcAft>
                          <a:spcPts val="800"/>
                        </a:spcAft>
                        <a:buNone/>
                        <a:tabLst>
                          <a:tab pos="5220335" algn="r"/>
                          <a:tab pos="6031230" algn="r"/>
                        </a:tabLst>
                      </a:pPr>
                      <a:r>
                        <a:rPr lang="fr-FR" sz="1400">
                          <a:solidFill>
                            <a:srgbClr val="000000"/>
                          </a:solidFill>
                          <a:effectLst/>
                          <a:latin typeface="Aptos" panose="020B0004020202020204" pitchFamily="34" charset="0"/>
                          <a:ea typeface="Times New Roman" panose="02020603050405020304" pitchFamily="18" charset="0"/>
                          <a:cs typeface="Arial" panose="020B0604020202020204" pitchFamily="34" charset="0"/>
                        </a:rPr>
                        <a:t>EROS </a:t>
                      </a:r>
                      <a:r>
                        <a:rPr lang="fr-FR" sz="14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WORD : à partir de </a:t>
                      </a:r>
                      <a:r>
                        <a:rPr lang="fr-FR" sz="1400" b="1"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100 francs pour 15 minutes, 300 francs pour une heure.</a:t>
                      </a:r>
                      <a:r>
                        <a:rPr lang="fr-FR" sz="14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p>
                      <a:pPr algn="l" fontAlgn="auto">
                        <a:spcAft>
                          <a:spcPts val="800"/>
                        </a:spcAft>
                        <a:buNone/>
                        <a:tabLst>
                          <a:tab pos="5220335" algn="r"/>
                          <a:tab pos="6031230" algn="r"/>
                        </a:tabLst>
                      </a:pPr>
                      <a:r>
                        <a:rPr lang="fr-FR" sz="14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FELINA : A partir de </a:t>
                      </a:r>
                      <a:r>
                        <a:rPr lang="fr-FR" sz="1400" b="1"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160 francs pour 30 minutes, 320 francs pour une heure.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p>
                      <a:pPr algn="l" fontAlgn="auto">
                        <a:spcAft>
                          <a:spcPts val="800"/>
                        </a:spcAft>
                        <a:buNone/>
                        <a:tabLst>
                          <a:tab pos="5220335" algn="r"/>
                          <a:tab pos="6031230" algn="r"/>
                        </a:tabLst>
                      </a:pPr>
                      <a:r>
                        <a:rPr lang="fr-FR" sz="1400"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APHRODISIA : à partir de </a:t>
                      </a:r>
                      <a:r>
                        <a:rPr lang="fr-FR" sz="1400" b="1" dirty="0">
                          <a:solidFill>
                            <a:srgbClr val="000000"/>
                          </a:solidFill>
                          <a:effectLst/>
                          <a:latin typeface="Aptos" panose="020B0004020202020204" pitchFamily="34" charset="0"/>
                          <a:ea typeface="Times New Roman" panose="02020603050405020304" pitchFamily="18" charset="0"/>
                          <a:cs typeface="Arial" panose="020B0604020202020204" pitchFamily="34" charset="0"/>
                        </a:rPr>
                        <a:t>280 francs pour 30 minutes, 500 francs pour une heure</a:t>
                      </a:r>
                      <a:r>
                        <a:rPr lang="fr-FR" sz="1400" b="1">
                          <a:solidFill>
                            <a:srgbClr val="000000"/>
                          </a:solidFill>
                          <a:effectLst/>
                          <a:latin typeface="Aptos" panose="020B0004020202020204" pitchFamily="34" charset="0"/>
                          <a:ea typeface="Times New Roman" panose="02020603050405020304" pitchFamily="18" charset="0"/>
                          <a:cs typeface="Arial" panose="020B0604020202020204" pitchFamily="34" charset="0"/>
                        </a:rPr>
                        <a:t>. </a:t>
                      </a:r>
                      <a:r>
                        <a:rPr lang="fr-FR" sz="1400">
                          <a:effectLst/>
                          <a:latin typeface="Aptos" panose="020B0004020202020204" pitchFamily="34" charset="0"/>
                          <a:ea typeface="Times New Roman" panose="02020603050405020304" pitchFamily="18" charset="0"/>
                          <a:cs typeface="Arial" panose="020B0604020202020204" pitchFamily="34" charset="0"/>
                        </a:rPr>
                        <a:t>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87210958"/>
                  </a:ext>
                </a:extLst>
              </a:tr>
            </a:tbl>
          </a:graphicData>
        </a:graphic>
      </p:graphicFrame>
    </p:spTree>
    <p:extLst>
      <p:ext uri="{BB962C8B-B14F-4D97-AF65-F5344CB8AC3E}">
        <p14:creationId xmlns:p14="http://schemas.microsoft.com/office/powerpoint/2010/main" val="32686312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7EE858-CBF8-7492-0EF1-7021B1706AC9}"/>
              </a:ext>
            </a:extLst>
          </p:cNvPr>
          <p:cNvSpPr>
            <a:spLocks noGrp="1"/>
          </p:cNvSpPr>
          <p:nvPr>
            <p:ph type="title"/>
          </p:nvPr>
        </p:nvSpPr>
        <p:spPr/>
        <p:txBody>
          <a:bodyPr/>
          <a:lstStyle/>
          <a:p>
            <a:pPr algn="just"/>
            <a:r>
              <a:rPr lang="fr-FR" dirty="0"/>
              <a:t>Préjudice sexuel : sur le coût à envisager </a:t>
            </a:r>
          </a:p>
        </p:txBody>
      </p:sp>
      <p:sp>
        <p:nvSpPr>
          <p:cNvPr id="3" name="Espace réservé du contenu 2">
            <a:extLst>
              <a:ext uri="{FF2B5EF4-FFF2-40B4-BE49-F238E27FC236}">
                <a16:creationId xmlns:a16="http://schemas.microsoft.com/office/drawing/2014/main" id="{B18758EB-18FC-DA74-57B7-B039A93A6B9C}"/>
              </a:ext>
            </a:extLst>
          </p:cNvPr>
          <p:cNvSpPr>
            <a:spLocks noGrp="1"/>
          </p:cNvSpPr>
          <p:nvPr>
            <p:ph idx="1"/>
          </p:nvPr>
        </p:nvSpPr>
        <p:spPr/>
        <p:txBody>
          <a:bodyPr/>
          <a:lstStyle/>
          <a:p>
            <a:pPr algn="just"/>
            <a:r>
              <a:rPr lang="fr-FR" sz="2000" dirty="0"/>
              <a:t>Les</a:t>
            </a:r>
            <a:r>
              <a:rPr lang="fr-FR" sz="2000" i="1" dirty="0"/>
              <a:t> « assistants sexuels » </a:t>
            </a:r>
            <a:r>
              <a:rPr lang="fr-FR" sz="2000" dirty="0"/>
              <a:t>: personnes qui accompagnent le plaisir sexuel et/ou érotique de personnes en situation de handicap. </a:t>
            </a:r>
          </a:p>
          <a:p>
            <a:pPr algn="just"/>
            <a:endParaRPr lang="fr-FR" sz="2000" dirty="0"/>
          </a:p>
          <a:p>
            <a:pPr algn="just"/>
            <a:r>
              <a:rPr lang="fr-FR" sz="2000" dirty="0"/>
              <a:t>Illégal en France (bien que pratiquée) mais autorisée dans d’autres pays.</a:t>
            </a:r>
          </a:p>
          <a:p>
            <a:pPr algn="just"/>
            <a:endParaRPr lang="fr-FR" sz="2000" dirty="0"/>
          </a:p>
          <a:p>
            <a:pPr marL="552450" lvl="1" indent="-285750" algn="just">
              <a:buFont typeface="Arial" panose="020B0604020202020204" pitchFamily="34" charset="0"/>
              <a:buChar char="•"/>
            </a:pPr>
            <a:r>
              <a:rPr lang="fr-FR" sz="2000" b="1" dirty="0"/>
              <a:t>Belgique : </a:t>
            </a:r>
            <a:r>
              <a:rPr lang="fr-FR" sz="2000" dirty="0"/>
              <a:t>Pratiquée mais non-réglementée. </a:t>
            </a:r>
          </a:p>
          <a:p>
            <a:pPr marL="552450" lvl="1" indent="-285750" algn="just">
              <a:buFont typeface="Arial" panose="020B0604020202020204" pitchFamily="34" charset="0"/>
              <a:buChar char="•"/>
            </a:pPr>
            <a:r>
              <a:rPr lang="fr-FR" sz="2000" b="1" dirty="0"/>
              <a:t>Suisse : </a:t>
            </a:r>
            <a:r>
              <a:rPr lang="fr-FR" sz="2000" dirty="0"/>
              <a:t>Pratique légale et encadrée. </a:t>
            </a:r>
          </a:p>
          <a:p>
            <a:pPr marL="552450" lvl="1" indent="-285750" algn="just">
              <a:buFont typeface="Arial" panose="020B0604020202020204" pitchFamily="34" charset="0"/>
              <a:buChar char="•"/>
            </a:pPr>
            <a:r>
              <a:rPr lang="fr-FR" sz="2000" b="1" dirty="0"/>
              <a:t>Pays-Bas : </a:t>
            </a:r>
            <a:r>
              <a:rPr lang="fr-FR" sz="2000" dirty="0"/>
              <a:t>Premier pays à avoir légalisé cette pratique. </a:t>
            </a:r>
          </a:p>
        </p:txBody>
      </p:sp>
    </p:spTree>
    <p:extLst>
      <p:ext uri="{BB962C8B-B14F-4D97-AF65-F5344CB8AC3E}">
        <p14:creationId xmlns:p14="http://schemas.microsoft.com/office/powerpoint/2010/main" val="27025067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E9DA9E-F13C-DE23-7438-D3588F5C7A17}"/>
              </a:ext>
            </a:extLst>
          </p:cNvPr>
          <p:cNvSpPr>
            <a:spLocks noGrp="1"/>
          </p:cNvSpPr>
          <p:nvPr>
            <p:ph type="title"/>
          </p:nvPr>
        </p:nvSpPr>
        <p:spPr/>
        <p:txBody>
          <a:bodyPr/>
          <a:lstStyle/>
          <a:p>
            <a:pPr algn="just"/>
            <a:r>
              <a:rPr lang="fr-FR" dirty="0"/>
              <a:t>Préjudice sexuel : sur le coût à envisager </a:t>
            </a:r>
          </a:p>
        </p:txBody>
      </p:sp>
      <p:graphicFrame>
        <p:nvGraphicFramePr>
          <p:cNvPr id="4" name="Espace réservé du contenu 3">
            <a:extLst>
              <a:ext uri="{FF2B5EF4-FFF2-40B4-BE49-F238E27FC236}">
                <a16:creationId xmlns:a16="http://schemas.microsoft.com/office/drawing/2014/main" id="{43237F68-47A4-5090-4683-151DC393ED9E}"/>
              </a:ext>
            </a:extLst>
          </p:cNvPr>
          <p:cNvGraphicFramePr>
            <a:graphicFrameLocks noGrp="1"/>
          </p:cNvGraphicFramePr>
          <p:nvPr>
            <p:ph idx="1"/>
            <p:extLst>
              <p:ext uri="{D42A27DB-BD31-4B8C-83A1-F6EECF244321}">
                <p14:modId xmlns:p14="http://schemas.microsoft.com/office/powerpoint/2010/main" val="3961197022"/>
              </p:ext>
            </p:extLst>
          </p:nvPr>
        </p:nvGraphicFramePr>
        <p:xfrm>
          <a:off x="981075" y="1155065"/>
          <a:ext cx="10126344" cy="4747895"/>
        </p:xfrm>
        <a:graphic>
          <a:graphicData uri="http://schemas.openxmlformats.org/drawingml/2006/table">
            <a:tbl>
              <a:tblPr firstRow="1" bandRow="1">
                <a:tableStyleId>{5C22544A-7EE6-4342-B048-85BDC9FD1C3A}</a:tableStyleId>
              </a:tblPr>
              <a:tblGrid>
                <a:gridCol w="4514641">
                  <a:extLst>
                    <a:ext uri="{9D8B030D-6E8A-4147-A177-3AD203B41FA5}">
                      <a16:colId xmlns:a16="http://schemas.microsoft.com/office/drawing/2014/main" val="3050433405"/>
                    </a:ext>
                  </a:extLst>
                </a:gridCol>
                <a:gridCol w="2236255">
                  <a:extLst>
                    <a:ext uri="{9D8B030D-6E8A-4147-A177-3AD203B41FA5}">
                      <a16:colId xmlns:a16="http://schemas.microsoft.com/office/drawing/2014/main" val="4294022287"/>
                    </a:ext>
                  </a:extLst>
                </a:gridCol>
                <a:gridCol w="3375448">
                  <a:extLst>
                    <a:ext uri="{9D8B030D-6E8A-4147-A177-3AD203B41FA5}">
                      <a16:colId xmlns:a16="http://schemas.microsoft.com/office/drawing/2014/main" val="2873930525"/>
                    </a:ext>
                  </a:extLst>
                </a:gridCol>
              </a:tblGrid>
              <a:tr h="550061">
                <a:tc>
                  <a:txBody>
                    <a:bodyPr/>
                    <a:lstStyle/>
                    <a:p>
                      <a:pPr algn="l"/>
                      <a:r>
                        <a:rPr lang="fr-FR" sz="1400" dirty="0"/>
                        <a:t>Sources</a:t>
                      </a:r>
                    </a:p>
                  </a:txBody>
                  <a:tcPr anchor="ctr">
                    <a:solidFill>
                      <a:schemeClr val="bg2"/>
                    </a:solidFill>
                  </a:tcPr>
                </a:tc>
                <a:tc>
                  <a:txBody>
                    <a:bodyPr/>
                    <a:lstStyle/>
                    <a:p>
                      <a:pPr algn="ctr"/>
                      <a:r>
                        <a:rPr lang="fr-FR" sz="1400" dirty="0"/>
                        <a:t>Pays</a:t>
                      </a:r>
                    </a:p>
                  </a:txBody>
                  <a:tcPr anchor="ctr">
                    <a:solidFill>
                      <a:schemeClr val="bg2"/>
                    </a:solidFill>
                  </a:tcPr>
                </a:tc>
                <a:tc>
                  <a:txBody>
                    <a:bodyPr/>
                    <a:lstStyle/>
                    <a:p>
                      <a:pPr algn="l"/>
                      <a:r>
                        <a:rPr lang="fr-FR" sz="1400" dirty="0"/>
                        <a:t>Coût d’intervention d’un assistant sexuel</a:t>
                      </a:r>
                    </a:p>
                  </a:txBody>
                  <a:tcPr anchor="ctr">
                    <a:solidFill>
                      <a:schemeClr val="bg2"/>
                    </a:solidFill>
                  </a:tcPr>
                </a:tc>
                <a:extLst>
                  <a:ext uri="{0D108BD9-81ED-4DB2-BD59-A6C34878D82A}">
                    <a16:rowId xmlns:a16="http://schemas.microsoft.com/office/drawing/2014/main" val="2246800508"/>
                  </a:ext>
                </a:extLst>
              </a:tr>
              <a:tr h="1013270">
                <a:tc>
                  <a:txBody>
                    <a:bodyPr/>
                    <a:lstStyle/>
                    <a:p>
                      <a:pPr algn="l" fontAlgn="auto">
                        <a:spcAft>
                          <a:spcPts val="800"/>
                        </a:spcAft>
                        <a:buNone/>
                        <a:tabLst>
                          <a:tab pos="5220335" algn="r"/>
                          <a:tab pos="6031230" algn="r"/>
                        </a:tabLst>
                      </a:pPr>
                      <a:r>
                        <a:rPr lang="fr-FR" sz="1400" b="1" dirty="0">
                          <a:effectLst/>
                          <a:latin typeface="Aptos" panose="020B0004020202020204" pitchFamily="34" charset="0"/>
                          <a:ea typeface="DIN 2014" panose="020B0504020202020204" pitchFamily="34" charset="0"/>
                          <a:cs typeface="Arial" panose="020B0604020202020204" pitchFamily="34" charset="0"/>
                        </a:rPr>
                        <a:t> </a:t>
                      </a:r>
                      <a:r>
                        <a:rPr lang="fr-FR" sz="1400" b="1" dirty="0">
                          <a:solidFill>
                            <a:srgbClr val="000000"/>
                          </a:solidFill>
                          <a:effectLst/>
                          <a:latin typeface="+mn-lt"/>
                          <a:ea typeface="DIN 2014" panose="020B0504020202020204" pitchFamily="34" charset="0"/>
                          <a:cs typeface="Arial" panose="020B0604020202020204" pitchFamily="34" charset="0"/>
                        </a:rPr>
                        <a:t>Association APPAS </a:t>
                      </a:r>
                      <a:endParaRPr lang="fr-FR" sz="1400" b="1" dirty="0">
                        <a:effectLst/>
                        <a:latin typeface="+mn-lt"/>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r>
                        <a:rPr lang="fr-FR" sz="1400" b="1" dirty="0"/>
                        <a:t>France</a:t>
                      </a:r>
                    </a:p>
                  </a:txBody>
                  <a:tcPr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l"/>
                      <a:r>
                        <a:rPr lang="fr-FR" sz="1400" b="1" dirty="0"/>
                        <a:t>150 € </a:t>
                      </a:r>
                      <a:r>
                        <a:rPr lang="fr-FR" sz="1400" b="0" dirty="0"/>
                        <a:t>pour un accompagnement d’environ une heure et demie outre des frais de déplacement et les éventuels frais d’hôtel </a:t>
                      </a:r>
                      <a:endParaRPr lang="fr-FR" sz="1400" dirty="0"/>
                    </a:p>
                  </a:txBody>
                  <a:tcPr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891737164"/>
                  </a:ext>
                </a:extLst>
              </a:tr>
              <a:tr h="1244875">
                <a:tc>
                  <a:txBody>
                    <a:bodyPr/>
                    <a:lstStyle/>
                    <a:p>
                      <a:pPr algn="l" fontAlgn="auto">
                        <a:spcAft>
                          <a:spcPts val="800"/>
                        </a:spcAft>
                        <a:buNone/>
                        <a:tabLst>
                          <a:tab pos="5220335" algn="r"/>
                          <a:tab pos="6031230" algn="r"/>
                        </a:tabLst>
                      </a:pPr>
                      <a:r>
                        <a:rPr lang="fr-FR" sz="1400" b="1" dirty="0">
                          <a:effectLst/>
                          <a:latin typeface="+mn-lt"/>
                          <a:ea typeface="DIN 2014" panose="020B0504020202020204" pitchFamily="34" charset="0"/>
                          <a:cs typeface="Arial" panose="020B0604020202020204" pitchFamily="34" charset="0"/>
                        </a:rPr>
                        <a:t>Association Aditi WB </a:t>
                      </a:r>
                      <a:endParaRPr lang="fr-FR" sz="1400" b="1" dirty="0">
                        <a:effectLst/>
                        <a:latin typeface="+mn-lt"/>
                        <a:ea typeface="DIN 2014" panose="020B0504020202020204" pitchFamily="34" charset="0"/>
                        <a:cs typeface="Times New Roman" panose="02020603050405020304" pitchFamily="18" charset="0"/>
                      </a:endParaRPr>
                    </a:p>
                    <a:p>
                      <a:pPr algn="l" fontAlgn="auto">
                        <a:spcAft>
                          <a:spcPts val="800"/>
                        </a:spcAft>
                        <a:buNone/>
                        <a:tabLst>
                          <a:tab pos="5220335" algn="r"/>
                          <a:tab pos="6031230" algn="r"/>
                        </a:tabLst>
                      </a:pPr>
                      <a:r>
                        <a:rPr lang="fr-FR" sz="1400" b="1" dirty="0">
                          <a:effectLst/>
                          <a:latin typeface="+mn-lt"/>
                          <a:ea typeface="DIN 2014" panose="020B0504020202020204" pitchFamily="34" charset="0"/>
                          <a:cs typeface="Arial" panose="020B0604020202020204" pitchFamily="34" charset="0"/>
                        </a:rPr>
                        <a:t> </a:t>
                      </a:r>
                      <a:endParaRPr lang="fr-FR" sz="1400" b="1" dirty="0">
                        <a:effectLst/>
                        <a:latin typeface="+mn-lt"/>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r>
                        <a:rPr lang="fr-FR" sz="1400" b="1" dirty="0"/>
                        <a:t>Belgique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l"/>
                      <a:r>
                        <a:rPr lang="fr-FR" sz="1400" dirty="0"/>
                        <a:t>1</a:t>
                      </a:r>
                      <a:r>
                        <a:rPr lang="fr-FR" sz="1400" baseline="30000" dirty="0"/>
                        <a:t>ère</a:t>
                      </a:r>
                      <a:r>
                        <a:rPr lang="fr-FR" sz="1400" dirty="0"/>
                        <a:t> consultation de </a:t>
                      </a:r>
                      <a:r>
                        <a:rPr lang="fr-FR" sz="1400" b="1" dirty="0"/>
                        <a:t>60 € + 35 € </a:t>
                      </a:r>
                      <a:r>
                        <a:rPr lang="fr-FR" sz="1400" dirty="0"/>
                        <a:t>de forfait de frais de déplacement + </a:t>
                      </a:r>
                      <a:r>
                        <a:rPr lang="fr-FR" sz="1400" b="1" dirty="0"/>
                        <a:t>100 €</a:t>
                      </a:r>
                      <a:r>
                        <a:rPr lang="fr-FR" sz="1400" dirty="0"/>
                        <a:t> par prestation d’une heure (</a:t>
                      </a:r>
                      <a:r>
                        <a:rPr lang="fr-FR" sz="1400" b="1" dirty="0"/>
                        <a:t>150 € </a:t>
                      </a:r>
                      <a:r>
                        <a:rPr lang="fr-FR" sz="1400" dirty="0"/>
                        <a:t>pour les couples) outre les frais de déplacement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798080290"/>
                  </a:ext>
                </a:extLst>
              </a:tr>
              <a:tr h="1013270">
                <a:tc>
                  <a:txBody>
                    <a:bodyPr/>
                    <a:lstStyle/>
                    <a:p>
                      <a:pPr algn="l" fontAlgn="auto">
                        <a:spcAft>
                          <a:spcPts val="800"/>
                        </a:spcAft>
                        <a:buNone/>
                        <a:tabLst>
                          <a:tab pos="5220335" algn="r"/>
                          <a:tab pos="6031230" algn="r"/>
                        </a:tabLst>
                      </a:pPr>
                      <a:r>
                        <a:rPr lang="fr-FR" sz="1400" b="1" dirty="0">
                          <a:solidFill>
                            <a:srgbClr val="000000"/>
                          </a:solidFill>
                          <a:effectLst/>
                          <a:latin typeface="+mn-lt"/>
                          <a:ea typeface="DIN 2014" panose="020B0504020202020204" pitchFamily="34" charset="0"/>
                          <a:cs typeface="Arial" panose="020B0604020202020204" pitchFamily="34" charset="0"/>
                        </a:rPr>
                        <a:t>« L’assistance sexuelle en Suisse romande », Revue Suisse de Pédagogie Spécialisée (Vol.13), mars 2023</a:t>
                      </a:r>
                      <a:endParaRPr lang="fr-FR" sz="1400" b="1" dirty="0">
                        <a:effectLst/>
                        <a:latin typeface="+mn-lt"/>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r>
                        <a:rPr lang="fr-FR" sz="1400" b="1" dirty="0"/>
                        <a:t>Suisse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l"/>
                      <a:r>
                        <a:rPr lang="fr-FR" sz="1400" b="1" dirty="0"/>
                        <a:t>150 francs </a:t>
                      </a:r>
                      <a:r>
                        <a:rPr lang="fr-FR" sz="1400" dirty="0"/>
                        <a:t>pour une heure de prestation outre une première rencontre facturée </a:t>
                      </a:r>
                      <a:r>
                        <a:rPr lang="fr-FR" sz="1400" b="1" dirty="0"/>
                        <a:t>50 francs </a:t>
                      </a:r>
                      <a:r>
                        <a:rPr lang="fr-FR" sz="1400" dirty="0"/>
                        <a:t>+ </a:t>
                      </a:r>
                      <a:r>
                        <a:rPr lang="fr-FR" sz="1400" b="1" dirty="0"/>
                        <a:t>frais de déplacement.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69114674"/>
                  </a:ext>
                </a:extLst>
              </a:tr>
              <a:tr h="926419">
                <a:tc>
                  <a:txBody>
                    <a:bodyPr/>
                    <a:lstStyle/>
                    <a:p>
                      <a:pPr algn="l" fontAlgn="auto">
                        <a:spcAft>
                          <a:spcPts val="800"/>
                        </a:spcAft>
                        <a:buNone/>
                        <a:tabLst>
                          <a:tab pos="5220335" algn="r"/>
                          <a:tab pos="6031230" algn="r"/>
                        </a:tabLst>
                      </a:pPr>
                      <a:r>
                        <a:rPr lang="fr-FR" sz="1400" b="1" dirty="0">
                          <a:effectLst/>
                          <a:latin typeface="+mn-lt"/>
                          <a:ea typeface="DIN 2014" panose="020B0504020202020204" pitchFamily="34" charset="0"/>
                          <a:cs typeface="Arial" panose="020B0604020202020204" pitchFamily="34" charset="0"/>
                        </a:rPr>
                        <a:t>M. RUBETTI, « Handicap : ces pays où l’assistance sexuelle est encadrée, voire remboursée », Le Figaro, 14 février 2020</a:t>
                      </a:r>
                      <a:endParaRPr lang="fr-FR" sz="1400" b="1" dirty="0">
                        <a:effectLst/>
                        <a:latin typeface="+mn-lt"/>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r>
                        <a:rPr lang="fr-FR" sz="1400" b="1" dirty="0"/>
                        <a:t>Pays-Bas</a:t>
                      </a:r>
                    </a:p>
                  </a:txBody>
                  <a:tcPr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l"/>
                      <a:r>
                        <a:rPr lang="fr-FR" sz="1400" dirty="0"/>
                        <a:t>Entre </a:t>
                      </a:r>
                      <a:r>
                        <a:rPr lang="fr-FR" sz="1400" b="1" dirty="0"/>
                        <a:t>85 et 100 € </a:t>
                      </a:r>
                      <a:r>
                        <a:rPr lang="fr-FR" sz="1400" dirty="0"/>
                        <a:t>pour une heure de prestation. </a:t>
                      </a:r>
                    </a:p>
                  </a:txBody>
                  <a:tcPr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57059554"/>
                  </a:ext>
                </a:extLst>
              </a:tr>
            </a:tbl>
          </a:graphicData>
        </a:graphic>
      </p:graphicFrame>
    </p:spTree>
    <p:extLst>
      <p:ext uri="{BB962C8B-B14F-4D97-AF65-F5344CB8AC3E}">
        <p14:creationId xmlns:p14="http://schemas.microsoft.com/office/powerpoint/2010/main" val="21417246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919431-624E-EA99-FE0C-B9069F397D59}"/>
              </a:ext>
            </a:extLst>
          </p:cNvPr>
          <p:cNvSpPr>
            <a:spLocks noGrp="1"/>
          </p:cNvSpPr>
          <p:nvPr>
            <p:ph type="title"/>
          </p:nvPr>
        </p:nvSpPr>
        <p:spPr>
          <a:xfrm>
            <a:off x="838200" y="365126"/>
            <a:ext cx="9321800" cy="919221"/>
          </a:xfrm>
        </p:spPr>
        <p:txBody>
          <a:bodyPr/>
          <a:lstStyle/>
          <a:p>
            <a:r>
              <a:rPr lang="fr-FR" dirty="0"/>
              <a:t>Préjudice sexuel : sur le coût à envisager </a:t>
            </a:r>
          </a:p>
        </p:txBody>
      </p:sp>
      <p:sp>
        <p:nvSpPr>
          <p:cNvPr id="3" name="Espace réservé du contenu 2">
            <a:extLst>
              <a:ext uri="{FF2B5EF4-FFF2-40B4-BE49-F238E27FC236}">
                <a16:creationId xmlns:a16="http://schemas.microsoft.com/office/drawing/2014/main" id="{39274109-B611-92CF-4D37-E784C9E69BAC}"/>
              </a:ext>
            </a:extLst>
          </p:cNvPr>
          <p:cNvSpPr>
            <a:spLocks noGrp="1"/>
          </p:cNvSpPr>
          <p:nvPr>
            <p:ph idx="1"/>
          </p:nvPr>
        </p:nvSpPr>
        <p:spPr>
          <a:xfrm>
            <a:off x="838200" y="1825625"/>
            <a:ext cx="10515600" cy="3978275"/>
          </a:xfrm>
        </p:spPr>
        <p:txBody>
          <a:bodyPr/>
          <a:lstStyle/>
          <a:p>
            <a:pPr lvl="1"/>
            <a:r>
              <a:rPr lang="fr-FR" dirty="0"/>
              <a:t>Les fourchettes de prix précédemment cités ne peuvent refléter l’évaluation d’un préjudice extrapatrimonial qu’il convient d’individualiser selon un coût en concordance avec les composantes du préjudice sexuel subies par la victime. </a:t>
            </a:r>
          </a:p>
          <a:p>
            <a:pPr lvl="1"/>
            <a:endParaRPr lang="fr-FR" dirty="0"/>
          </a:p>
          <a:p>
            <a:pPr lvl="1"/>
            <a:r>
              <a:rPr lang="fr-FR" dirty="0"/>
              <a:t>Proposition : évaluer chaque composante en fonction de l’intensité des séquelles, selon un coût pouvant aller jusqu’à 8 euros =&gt; cela permettrait de calculer un coût de rapport sexuel basé sur les préjudices réels subis par la victime. </a:t>
            </a:r>
          </a:p>
          <a:p>
            <a:pPr lvl="1"/>
            <a:endParaRPr lang="fr-FR" dirty="0"/>
          </a:p>
          <a:p>
            <a:pPr lvl="1"/>
            <a:r>
              <a:rPr lang="fr-FR" dirty="0"/>
              <a:t>Ainsi, pour chacun des aspects du préjudice sexuel précédemment cités, il convient d’évaluer l’intensité du préjudice subi par la victime à partir de la nature dudit préjudice (nulle à faible – modérée – élevée - très élevée), selon les catégories présentes dans le tableau de la diapositive suivante. </a:t>
            </a:r>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40215443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515771-6005-BAD5-97C0-893F4A707A2F}"/>
              </a:ext>
            </a:extLst>
          </p:cNvPr>
          <p:cNvSpPr>
            <a:spLocks noGrp="1"/>
          </p:cNvSpPr>
          <p:nvPr>
            <p:ph type="title"/>
          </p:nvPr>
        </p:nvSpPr>
        <p:spPr/>
        <p:txBody>
          <a:bodyPr/>
          <a:lstStyle/>
          <a:p>
            <a:pPr algn="just"/>
            <a:r>
              <a:rPr lang="fr-FR" dirty="0"/>
              <a:t>Préjudice sexuel : sur le coût à envisager </a:t>
            </a:r>
          </a:p>
        </p:txBody>
      </p:sp>
      <p:graphicFrame>
        <p:nvGraphicFramePr>
          <p:cNvPr id="5" name="Espace réservé du contenu 4">
            <a:extLst>
              <a:ext uri="{FF2B5EF4-FFF2-40B4-BE49-F238E27FC236}">
                <a16:creationId xmlns:a16="http://schemas.microsoft.com/office/drawing/2014/main" id="{974EDDBE-6156-4DE9-6FB8-C9B3AF0B299B}"/>
              </a:ext>
            </a:extLst>
          </p:cNvPr>
          <p:cNvGraphicFramePr>
            <a:graphicFrameLocks noGrp="1"/>
          </p:cNvGraphicFramePr>
          <p:nvPr>
            <p:ph idx="1"/>
            <p:extLst>
              <p:ext uri="{D42A27DB-BD31-4B8C-83A1-F6EECF244321}">
                <p14:modId xmlns:p14="http://schemas.microsoft.com/office/powerpoint/2010/main" val="2965872012"/>
              </p:ext>
            </p:extLst>
          </p:nvPr>
        </p:nvGraphicFramePr>
        <p:xfrm>
          <a:off x="904973" y="1088136"/>
          <a:ext cx="9991627" cy="4952220"/>
        </p:xfrm>
        <a:graphic>
          <a:graphicData uri="http://schemas.openxmlformats.org/drawingml/2006/table">
            <a:tbl>
              <a:tblPr firstRow="1" bandRow="1">
                <a:tableStyleId>{5C22544A-7EE6-4342-B048-85BDC9FD1C3A}</a:tableStyleId>
              </a:tblPr>
              <a:tblGrid>
                <a:gridCol w="4971939">
                  <a:extLst>
                    <a:ext uri="{9D8B030D-6E8A-4147-A177-3AD203B41FA5}">
                      <a16:colId xmlns:a16="http://schemas.microsoft.com/office/drawing/2014/main" val="1160125485"/>
                    </a:ext>
                  </a:extLst>
                </a:gridCol>
                <a:gridCol w="5019688">
                  <a:extLst>
                    <a:ext uri="{9D8B030D-6E8A-4147-A177-3AD203B41FA5}">
                      <a16:colId xmlns:a16="http://schemas.microsoft.com/office/drawing/2014/main" val="353932673"/>
                    </a:ext>
                  </a:extLst>
                </a:gridCol>
              </a:tblGrid>
              <a:tr h="293723">
                <a:tc>
                  <a:txBody>
                    <a:bodyPr/>
                    <a:lstStyle/>
                    <a:p>
                      <a:r>
                        <a:rPr lang="fr-FR" sz="1400" dirty="0"/>
                        <a:t>Niveau d’intensité</a:t>
                      </a:r>
                    </a:p>
                  </a:txBody>
                  <a:tcPr>
                    <a:solidFill>
                      <a:schemeClr val="bg2"/>
                    </a:solidFill>
                  </a:tcPr>
                </a:tc>
                <a:tc>
                  <a:txBody>
                    <a:bodyPr/>
                    <a:lstStyle/>
                    <a:p>
                      <a:r>
                        <a:rPr lang="fr-FR" sz="1400" dirty="0"/>
                        <a:t>Coûts</a:t>
                      </a:r>
                    </a:p>
                  </a:txBody>
                  <a:tcPr>
                    <a:solidFill>
                      <a:schemeClr val="bg2"/>
                    </a:solidFill>
                  </a:tcPr>
                </a:tc>
                <a:extLst>
                  <a:ext uri="{0D108BD9-81ED-4DB2-BD59-A6C34878D82A}">
                    <a16:rowId xmlns:a16="http://schemas.microsoft.com/office/drawing/2014/main" val="1527876521"/>
                  </a:ext>
                </a:extLst>
              </a:tr>
              <a:tr h="1161855">
                <a:tc>
                  <a:txBody>
                    <a:bodyPr/>
                    <a:lstStyle/>
                    <a:p>
                      <a:r>
                        <a:rPr lang="fr-FR" sz="1400" b="1" dirty="0"/>
                        <a:t>Nul à faibl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i="1" kern="1200" dirty="0">
                          <a:solidFill>
                            <a:schemeClr val="dk1"/>
                          </a:solidFill>
                          <a:effectLst/>
                          <a:latin typeface="+mn-lt"/>
                          <a:ea typeface="+mn-ea"/>
                          <a:cs typeface="+mn-cs"/>
                        </a:rPr>
                        <a:t>(Peu ou pas d’atteinte aux organes sexuels, peu ou pas de perte de libido/de gêne/de capacité à accéder au plaisir, capacité de reproduction peu ou non-impactée…)</a:t>
                      </a:r>
                      <a:endParaRPr lang="fr-FR" sz="1400" kern="1200" dirty="0">
                        <a:solidFill>
                          <a:schemeClr val="dk1"/>
                        </a:solidFill>
                        <a:effectLst/>
                        <a:latin typeface="+mn-lt"/>
                        <a:ea typeface="+mn-ea"/>
                        <a:cs typeface="+mn-cs"/>
                      </a:endParaRPr>
                    </a:p>
                  </a:txBody>
                  <a:tcP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0 à 2 euros alloué selon l’état objectif de la victime. </a:t>
                      </a:r>
                    </a:p>
                  </a:txBody>
                  <a:tcP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698985413"/>
                  </a:ext>
                </a:extLst>
              </a:tr>
              <a:tr h="1161855">
                <a:tc>
                  <a:txBody>
                    <a:bodyPr/>
                    <a:lstStyle/>
                    <a:p>
                      <a:r>
                        <a:rPr lang="fr-FR" sz="1400" b="1" dirty="0"/>
                        <a:t>Modéré</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i="1" kern="1200" dirty="0">
                          <a:solidFill>
                            <a:schemeClr val="dk1"/>
                          </a:solidFill>
                          <a:effectLst/>
                          <a:latin typeface="+mn-lt"/>
                          <a:ea typeface="+mn-ea"/>
                          <a:cs typeface="+mn-cs"/>
                        </a:rPr>
                        <a:t>(Atteinte aux organes sexuels modérée, perte de libido/de gêne/de capacité à accéder au plaisir objectivé mais modéré, capacité de reproduction modérément impactée…)</a:t>
                      </a:r>
                      <a:endParaRPr lang="fr-FR" sz="1400" kern="1200" dirty="0">
                        <a:solidFill>
                          <a:schemeClr val="dk1"/>
                        </a:solidFill>
                        <a:effectLst/>
                        <a:latin typeface="+mn-lt"/>
                        <a:ea typeface="+mn-ea"/>
                        <a:cs typeface="+mn-cs"/>
                      </a:endParaRP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2 à 4 euros alloué selon l’état objectif de la victime.</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58064454"/>
                  </a:ext>
                </a:extLst>
              </a:tr>
              <a:tr h="11618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dirty="0">
                          <a:solidFill>
                            <a:schemeClr val="dk1"/>
                          </a:solidFill>
                          <a:effectLst/>
                          <a:latin typeface="+mn-lt"/>
                          <a:ea typeface="+mn-ea"/>
                          <a:cs typeface="+mn-cs"/>
                        </a:rPr>
                        <a:t>Elevée</a:t>
                      </a:r>
                      <a:endParaRPr lang="fr-FR" sz="14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i="1" kern="1200" dirty="0">
                          <a:solidFill>
                            <a:schemeClr val="dk1"/>
                          </a:solidFill>
                          <a:effectLst/>
                          <a:latin typeface="+mn-lt"/>
                          <a:ea typeface="+mn-ea"/>
                          <a:cs typeface="+mn-cs"/>
                        </a:rPr>
                        <a:t>(Atteinte aux organes sexuels importante, perte de libido/de gêne/de capacité à accéder au plaisir élevée, capacité de reproduction très impactée…)</a:t>
                      </a:r>
                      <a:endParaRPr lang="fr-FR" sz="1400" kern="1200" dirty="0">
                        <a:solidFill>
                          <a:schemeClr val="dk1"/>
                        </a:solidFill>
                        <a:effectLst/>
                        <a:latin typeface="+mn-lt"/>
                        <a:ea typeface="+mn-ea"/>
                        <a:cs typeface="+mn-cs"/>
                      </a:endParaRP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4 à 6 euros alloué selon l’état objectif de la victime.</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597107927"/>
                  </a:ext>
                </a:extLst>
              </a:tr>
              <a:tr h="1161855">
                <a:tc>
                  <a:txBody>
                    <a:bodyPr/>
                    <a:lstStyle/>
                    <a:p>
                      <a:r>
                        <a:rPr lang="fr-FR" sz="1400" b="1" dirty="0"/>
                        <a:t>Très élevée</a:t>
                      </a:r>
                    </a:p>
                    <a:p>
                      <a:r>
                        <a:rPr lang="fr-FR" sz="1400" dirty="0"/>
                        <a:t>(Atteinte aux organes sexuels très importante, perte de libido/de gêne/de capacité à accéder au plaisir très élevée, capacité de reproduction très impactée voir impossibilité…)</a:t>
                      </a:r>
                    </a:p>
                  </a:txBody>
                  <a:tcP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r>
                        <a:rPr lang="fr-FR" sz="1400" dirty="0"/>
                        <a:t>6 à 8 euros alloué selon l’état objectif de la victime.</a:t>
                      </a:r>
                    </a:p>
                  </a:txBody>
                  <a:tcP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33406046"/>
                  </a:ext>
                </a:extLst>
              </a:tr>
            </a:tbl>
          </a:graphicData>
        </a:graphic>
      </p:graphicFrame>
    </p:spTree>
    <p:extLst>
      <p:ext uri="{BB962C8B-B14F-4D97-AF65-F5344CB8AC3E}">
        <p14:creationId xmlns:p14="http://schemas.microsoft.com/office/powerpoint/2010/main" val="267167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4D6912-71C9-5A1D-376D-90EBD303CC47}"/>
              </a:ext>
            </a:extLst>
          </p:cNvPr>
          <p:cNvSpPr>
            <a:spLocks noGrp="1"/>
          </p:cNvSpPr>
          <p:nvPr>
            <p:ph type="title"/>
          </p:nvPr>
        </p:nvSpPr>
        <p:spPr/>
        <p:txBody>
          <a:bodyPr/>
          <a:lstStyle/>
          <a:p>
            <a:r>
              <a:rPr lang="fr-FR"/>
              <a:t>Le préjudice d’agrément</a:t>
            </a:r>
            <a:endParaRPr lang="fr-FR" dirty="0"/>
          </a:p>
        </p:txBody>
      </p:sp>
      <p:sp>
        <p:nvSpPr>
          <p:cNvPr id="3" name="Espace réservé du contenu 2">
            <a:extLst>
              <a:ext uri="{FF2B5EF4-FFF2-40B4-BE49-F238E27FC236}">
                <a16:creationId xmlns:a16="http://schemas.microsoft.com/office/drawing/2014/main" id="{5615D8AA-53A6-99CC-C66E-AB4D90DDE3D4}"/>
              </a:ext>
            </a:extLst>
          </p:cNvPr>
          <p:cNvSpPr>
            <a:spLocks noGrp="1"/>
          </p:cNvSpPr>
          <p:nvPr>
            <p:ph idx="1"/>
          </p:nvPr>
        </p:nvSpPr>
        <p:spPr>
          <a:xfrm>
            <a:off x="838200" y="1825625"/>
            <a:ext cx="4883331" cy="3978275"/>
          </a:xfrm>
        </p:spPr>
        <p:txBody>
          <a:bodyPr/>
          <a:lstStyle/>
          <a:p>
            <a:pPr algn="just"/>
            <a:r>
              <a:rPr lang="fr-FR" dirty="0"/>
              <a:t>Ce poste de préjudice vise </a:t>
            </a:r>
            <a:r>
              <a:rPr lang="fr-FR" b="1" dirty="0"/>
              <a:t>exclusivement</a:t>
            </a:r>
            <a:r>
              <a:rPr lang="fr-FR" dirty="0"/>
              <a:t> à réparer le préjudice d’agrément spécifique lié à l’impossibilité pour la victime de pratiquer régulièrement une activité spécifique sportive ou de loisirs. Ce poste de préjudice doit être apprécié </a:t>
            </a:r>
            <a:r>
              <a:rPr lang="fr-FR" b="1" dirty="0"/>
              <a:t>in </a:t>
            </a:r>
            <a:r>
              <a:rPr lang="fr-FR" b="1" dirty="0" err="1"/>
              <a:t>concreto</a:t>
            </a:r>
            <a:r>
              <a:rPr lang="fr-FR" dirty="0"/>
              <a:t> en tenant compte de tous les paramètres individuels de la victime (âge, niveau, etc.).</a:t>
            </a:r>
          </a:p>
        </p:txBody>
      </p:sp>
      <p:sp>
        <p:nvSpPr>
          <p:cNvPr id="4" name="Légende : encadrée à une bordure 3">
            <a:extLst>
              <a:ext uri="{FF2B5EF4-FFF2-40B4-BE49-F238E27FC236}">
                <a16:creationId xmlns:a16="http://schemas.microsoft.com/office/drawing/2014/main" id="{281B39D7-0FE5-8FF9-F0A9-B572AB9E33AA}"/>
              </a:ext>
            </a:extLst>
          </p:cNvPr>
          <p:cNvSpPr/>
          <p:nvPr/>
        </p:nvSpPr>
        <p:spPr>
          <a:xfrm>
            <a:off x="7971416" y="1631137"/>
            <a:ext cx="3033657" cy="1161975"/>
          </a:xfrm>
          <a:prstGeom prst="accentBorderCallout1">
            <a:avLst>
              <a:gd name="adj1" fmla="val 22447"/>
              <a:gd name="adj2" fmla="val 57"/>
              <a:gd name="adj3" fmla="val 74096"/>
              <a:gd name="adj4" fmla="val -187427"/>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Et les enfants ? </a:t>
            </a:r>
          </a:p>
          <a:p>
            <a:pPr algn="ctr"/>
            <a:r>
              <a:rPr lang="fr-FR" dirty="0">
                <a:solidFill>
                  <a:schemeClr val="accent2"/>
                </a:solidFill>
              </a:rPr>
              <a:t>Et la simple limitation ?</a:t>
            </a:r>
          </a:p>
        </p:txBody>
      </p:sp>
      <p:sp>
        <p:nvSpPr>
          <p:cNvPr id="5" name="Légende : encadrée à une bordure 4">
            <a:extLst>
              <a:ext uri="{FF2B5EF4-FFF2-40B4-BE49-F238E27FC236}">
                <a16:creationId xmlns:a16="http://schemas.microsoft.com/office/drawing/2014/main" id="{F57AF791-2378-EEB9-560B-2B0EC1757AAC}"/>
              </a:ext>
            </a:extLst>
          </p:cNvPr>
          <p:cNvSpPr/>
          <p:nvPr/>
        </p:nvSpPr>
        <p:spPr>
          <a:xfrm>
            <a:off x="7971416" y="3846898"/>
            <a:ext cx="3033657" cy="1161975"/>
          </a:xfrm>
          <a:prstGeom prst="accentBorderCallout1">
            <a:avLst>
              <a:gd name="adj1" fmla="val 22029"/>
              <a:gd name="adj2" fmla="val 144"/>
              <a:gd name="adj3" fmla="val -47224"/>
              <a:gd name="adj4" fmla="val -166229"/>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Ce n’est pas une directive d’appréciation</a:t>
            </a:r>
          </a:p>
        </p:txBody>
      </p:sp>
    </p:spTree>
    <p:extLst>
      <p:ext uri="{BB962C8B-B14F-4D97-AF65-F5344CB8AC3E}">
        <p14:creationId xmlns:p14="http://schemas.microsoft.com/office/powerpoint/2010/main" val="34884364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93CE29-2D77-7FD9-3CDC-C7FE277401CA}"/>
              </a:ext>
            </a:extLst>
          </p:cNvPr>
          <p:cNvSpPr>
            <a:spLocks noGrp="1"/>
          </p:cNvSpPr>
          <p:nvPr>
            <p:ph type="title"/>
          </p:nvPr>
        </p:nvSpPr>
        <p:spPr/>
        <p:txBody>
          <a:bodyPr/>
          <a:lstStyle/>
          <a:p>
            <a:pPr algn="just"/>
            <a:r>
              <a:rPr lang="fr-FR" dirty="0"/>
              <a:t>Préjudice sexuel : la nature du préjudice </a:t>
            </a:r>
          </a:p>
        </p:txBody>
      </p:sp>
      <p:sp>
        <p:nvSpPr>
          <p:cNvPr id="3" name="Espace réservé du contenu 2">
            <a:extLst>
              <a:ext uri="{FF2B5EF4-FFF2-40B4-BE49-F238E27FC236}">
                <a16:creationId xmlns:a16="http://schemas.microsoft.com/office/drawing/2014/main" id="{A9D35C62-2951-443F-3DC4-EE134C66D3E0}"/>
              </a:ext>
            </a:extLst>
          </p:cNvPr>
          <p:cNvSpPr>
            <a:spLocks noGrp="1"/>
          </p:cNvSpPr>
          <p:nvPr>
            <p:ph idx="1"/>
          </p:nvPr>
        </p:nvSpPr>
        <p:spPr/>
        <p:txBody>
          <a:bodyPr/>
          <a:lstStyle/>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Soit X euros par rapport sexuel. </a:t>
            </a:r>
          </a:p>
        </p:txBody>
      </p:sp>
      <p:graphicFrame>
        <p:nvGraphicFramePr>
          <p:cNvPr id="4" name="Tableau 3">
            <a:extLst>
              <a:ext uri="{FF2B5EF4-FFF2-40B4-BE49-F238E27FC236}">
                <a16:creationId xmlns:a16="http://schemas.microsoft.com/office/drawing/2014/main" id="{CE2FF3EB-E706-DE77-844C-E7972F24A6EB}"/>
              </a:ext>
            </a:extLst>
          </p:cNvPr>
          <p:cNvGraphicFramePr>
            <a:graphicFrameLocks noGrp="1"/>
          </p:cNvGraphicFramePr>
          <p:nvPr>
            <p:extLst>
              <p:ext uri="{D42A27DB-BD31-4B8C-83A1-F6EECF244321}">
                <p14:modId xmlns:p14="http://schemas.microsoft.com/office/powerpoint/2010/main" val="4224156933"/>
              </p:ext>
            </p:extLst>
          </p:nvPr>
        </p:nvGraphicFramePr>
        <p:xfrm>
          <a:off x="1311886" y="1378200"/>
          <a:ext cx="9606049" cy="3328012"/>
        </p:xfrm>
        <a:graphic>
          <a:graphicData uri="http://schemas.openxmlformats.org/drawingml/2006/table">
            <a:tbl>
              <a:tblPr firstRow="1" bandRow="1">
                <a:tableStyleId>{5C22544A-7EE6-4342-B048-85BDC9FD1C3A}</a:tableStyleId>
              </a:tblPr>
              <a:tblGrid>
                <a:gridCol w="2433634">
                  <a:extLst>
                    <a:ext uri="{9D8B030D-6E8A-4147-A177-3AD203B41FA5}">
                      <a16:colId xmlns:a16="http://schemas.microsoft.com/office/drawing/2014/main" val="3616577210"/>
                    </a:ext>
                  </a:extLst>
                </a:gridCol>
                <a:gridCol w="2433634">
                  <a:extLst>
                    <a:ext uri="{9D8B030D-6E8A-4147-A177-3AD203B41FA5}">
                      <a16:colId xmlns:a16="http://schemas.microsoft.com/office/drawing/2014/main" val="3450762232"/>
                    </a:ext>
                  </a:extLst>
                </a:gridCol>
                <a:gridCol w="2433634">
                  <a:extLst>
                    <a:ext uri="{9D8B030D-6E8A-4147-A177-3AD203B41FA5}">
                      <a16:colId xmlns:a16="http://schemas.microsoft.com/office/drawing/2014/main" val="3414717693"/>
                    </a:ext>
                  </a:extLst>
                </a:gridCol>
                <a:gridCol w="2305147">
                  <a:extLst>
                    <a:ext uri="{9D8B030D-6E8A-4147-A177-3AD203B41FA5}">
                      <a16:colId xmlns:a16="http://schemas.microsoft.com/office/drawing/2014/main" val="1743650745"/>
                    </a:ext>
                  </a:extLst>
                </a:gridCol>
              </a:tblGrid>
              <a:tr h="431550">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Aspect du préjudice sexuel</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Nature du préjudic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Niveau d’intensité</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Coût</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885471828"/>
                  </a:ext>
                </a:extLst>
              </a:tr>
              <a:tr h="710083">
                <a:tc>
                  <a:txBody>
                    <a:bodyPr/>
                    <a:lstStyle/>
                    <a:p>
                      <a:pPr>
                        <a:spcAft>
                          <a:spcPts val="800"/>
                        </a:spcAft>
                        <a:buNone/>
                      </a:pPr>
                      <a:r>
                        <a:rPr lang="fr-FR" sz="16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Aspect morphologiqu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Description </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8 euros</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83194806"/>
                  </a:ext>
                </a:extLst>
              </a:tr>
              <a:tr h="710083">
                <a:tc>
                  <a:txBody>
                    <a:bodyPr/>
                    <a:lstStyle/>
                    <a:p>
                      <a:pPr>
                        <a:spcAft>
                          <a:spcPts val="800"/>
                        </a:spcAft>
                        <a:buNone/>
                      </a:pPr>
                      <a:r>
                        <a:rPr lang="fr-FR" sz="1600" b="1" dirty="0">
                          <a:effectLst/>
                          <a:latin typeface="DIN 2014" panose="020B0504020202020204" pitchFamily="34" charset="0"/>
                          <a:ea typeface="DIN 2014" panose="020B0504020202020204" pitchFamily="34" charset="0"/>
                          <a:cs typeface="Times New Roman" panose="02020603050405020304" pitchFamily="18" charset="0"/>
                        </a:rPr>
                        <a:t>Préjudice lié à l’acte sexuel</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effectLst/>
                          <a:latin typeface="DIN 2014" panose="020B0504020202020204" pitchFamily="34" charset="0"/>
                          <a:ea typeface="DIN 2014" panose="020B0504020202020204" pitchFamily="34" charset="0"/>
                          <a:cs typeface="Times New Roman" panose="02020603050405020304" pitchFamily="18" charset="0"/>
                        </a:rPr>
                        <a:t>Description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effectLst/>
                          <a:latin typeface="DIN 2014" panose="020B0504020202020204" pitchFamily="34" charset="0"/>
                          <a:ea typeface="DIN 2014" panose="020B0504020202020204" pitchFamily="34" charset="0"/>
                          <a:cs typeface="Times New Roman" panose="02020603050405020304" pitchFamily="18" charset="0"/>
                        </a:rPr>
                        <a:t>0 à 8 euros</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740371739"/>
                  </a:ext>
                </a:extLst>
              </a:tr>
              <a:tr h="710083">
                <a:tc>
                  <a:txBody>
                    <a:bodyPr/>
                    <a:lstStyle/>
                    <a:p>
                      <a:pPr>
                        <a:spcAft>
                          <a:spcPts val="800"/>
                        </a:spcAft>
                        <a:buNone/>
                      </a:pPr>
                      <a:r>
                        <a:rPr lang="fr-FR" sz="16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Fertilité</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Description </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8 euros</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384369886"/>
                  </a:ext>
                </a:extLst>
              </a:tr>
              <a:tr h="710083">
                <a:tc>
                  <a:txBody>
                    <a:bodyPr/>
                    <a:lstStyle/>
                    <a:p>
                      <a:pPr>
                        <a:spcAft>
                          <a:spcPts val="800"/>
                        </a:spcAft>
                        <a:buNone/>
                      </a:pPr>
                      <a:r>
                        <a:rPr lang="fr-FR" sz="16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Gêne positionnelle </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Description</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6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8 euros</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287206021"/>
                  </a:ext>
                </a:extLst>
              </a:tr>
            </a:tbl>
          </a:graphicData>
        </a:graphic>
      </p:graphicFrame>
    </p:spTree>
    <p:extLst>
      <p:ext uri="{BB962C8B-B14F-4D97-AF65-F5344CB8AC3E}">
        <p14:creationId xmlns:p14="http://schemas.microsoft.com/office/powerpoint/2010/main" val="1960452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ECBF1A-6DBA-5557-4524-D4E4A3907DF0}"/>
              </a:ext>
            </a:extLst>
          </p:cNvPr>
          <p:cNvSpPr>
            <a:spLocks noGrp="1"/>
          </p:cNvSpPr>
          <p:nvPr>
            <p:ph type="title"/>
          </p:nvPr>
        </p:nvSpPr>
        <p:spPr>
          <a:xfrm>
            <a:off x="838200" y="365126"/>
            <a:ext cx="9321800" cy="919221"/>
          </a:xfrm>
        </p:spPr>
        <p:txBody>
          <a:bodyPr/>
          <a:lstStyle/>
          <a:p>
            <a:r>
              <a:rPr lang="fr-FR" dirty="0"/>
              <a:t>Préjudice sexuel : Calcul du préjudice sexuel de la victime – A titre principale</a:t>
            </a:r>
          </a:p>
        </p:txBody>
      </p:sp>
      <p:sp>
        <p:nvSpPr>
          <p:cNvPr id="3" name="Espace réservé du contenu 2">
            <a:extLst>
              <a:ext uri="{FF2B5EF4-FFF2-40B4-BE49-F238E27FC236}">
                <a16:creationId xmlns:a16="http://schemas.microsoft.com/office/drawing/2014/main" id="{D44947F2-B7DB-F3AE-F112-B0E724EA4683}"/>
              </a:ext>
            </a:extLst>
          </p:cNvPr>
          <p:cNvSpPr>
            <a:spLocks noGrp="1"/>
          </p:cNvSpPr>
          <p:nvPr>
            <p:ph idx="1"/>
          </p:nvPr>
        </p:nvSpPr>
        <p:spPr>
          <a:xfrm>
            <a:off x="838200" y="1825625"/>
            <a:ext cx="10515600" cy="3978275"/>
          </a:xfrm>
        </p:spPr>
        <p:txBody>
          <a:bodyPr/>
          <a:lstStyle/>
          <a:p>
            <a:pPr lvl="1"/>
            <a:r>
              <a:rPr lang="fr-FR" dirty="0"/>
              <a:t>Détermination du nombre d’années d’espérance de vie de la victime à partir des tables espérance de vie selon résultats provisoires arrêtés à la fin de l’année 2022 de l’INSEE. </a:t>
            </a:r>
          </a:p>
          <a:p>
            <a:pPr lvl="1"/>
            <a:r>
              <a:rPr lang="fr-FR" dirty="0"/>
              <a:t>Préjudice sexuel = quotidien. </a:t>
            </a:r>
          </a:p>
          <a:p>
            <a:pPr lvl="1"/>
            <a:r>
              <a:rPr lang="fr-FR" dirty="0"/>
              <a:t>Principe de liberté sexuelle = faculté pour chacun de disposer de son corps et de sa vie intime en décidant librement du moment où il souhaite, ou non, consentir à une relation ou à un acte à caractère sexuel. </a:t>
            </a:r>
          </a:p>
          <a:p>
            <a:endParaRPr lang="fr-FR" dirty="0"/>
          </a:p>
          <a:p>
            <a:pPr lvl="1"/>
            <a:r>
              <a:rPr lang="fr-FR" dirty="0"/>
              <a:t>Multiplier le coût du rapport sexuel précité par le nombre de jours sur une année : </a:t>
            </a:r>
          </a:p>
          <a:p>
            <a:pPr marL="266700"/>
            <a:r>
              <a:rPr lang="fr-FR" dirty="0">
                <a:solidFill>
                  <a:schemeClr val="bg2"/>
                </a:solidFill>
                <a:sym typeface="Wingdings" panose="05000000000000000000" pitchFamily="2" charset="2"/>
              </a:rPr>
              <a:t></a:t>
            </a:r>
            <a:r>
              <a:rPr lang="fr-FR" dirty="0">
                <a:sym typeface="Wingdings" panose="05000000000000000000" pitchFamily="2" charset="2"/>
              </a:rPr>
              <a:t> </a:t>
            </a:r>
            <a:r>
              <a:rPr lang="fr-FR" i="1" dirty="0"/>
              <a:t>Coût x 365 jours = X. </a:t>
            </a:r>
          </a:p>
          <a:p>
            <a:pPr lvl="1"/>
            <a:r>
              <a:rPr lang="fr-FR" dirty="0"/>
              <a:t>Par la suite, multiplier cette somme qui correspond au préjudice annuel de la victime par le nombre d’années d’espérance de vie de la victime à la date de la consolidation : </a:t>
            </a:r>
          </a:p>
          <a:p>
            <a:pPr marL="266700"/>
            <a:r>
              <a:rPr lang="fr-FR" dirty="0">
                <a:solidFill>
                  <a:schemeClr val="bg2"/>
                </a:solidFill>
                <a:sym typeface="Wingdings" panose="05000000000000000000" pitchFamily="2" charset="2"/>
              </a:rPr>
              <a:t> </a:t>
            </a:r>
            <a:r>
              <a:rPr lang="fr-FR" i="1" dirty="0"/>
              <a:t>Coût x nombre d’années d’espérance de vie = X. </a:t>
            </a:r>
          </a:p>
          <a:p>
            <a:endParaRPr lang="fr-FR" dirty="0"/>
          </a:p>
        </p:txBody>
      </p:sp>
    </p:spTree>
    <p:extLst>
      <p:ext uri="{BB962C8B-B14F-4D97-AF65-F5344CB8AC3E}">
        <p14:creationId xmlns:p14="http://schemas.microsoft.com/office/powerpoint/2010/main" val="33452265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C2DF8F-1055-D5C9-6255-4A57216D81A2}"/>
              </a:ext>
            </a:extLst>
          </p:cNvPr>
          <p:cNvSpPr>
            <a:spLocks noGrp="1"/>
          </p:cNvSpPr>
          <p:nvPr>
            <p:ph type="title"/>
          </p:nvPr>
        </p:nvSpPr>
        <p:spPr>
          <a:xfrm>
            <a:off x="838200" y="365126"/>
            <a:ext cx="9321800" cy="919221"/>
          </a:xfrm>
        </p:spPr>
        <p:txBody>
          <a:bodyPr/>
          <a:lstStyle/>
          <a:p>
            <a:r>
              <a:rPr lang="fr-FR" dirty="0"/>
              <a:t>Préjudice sexuel : Calcul du préjudice sexuel de la victime – A titre subsidiaire</a:t>
            </a:r>
          </a:p>
        </p:txBody>
      </p:sp>
      <p:sp>
        <p:nvSpPr>
          <p:cNvPr id="3" name="Espace réservé du contenu 2">
            <a:extLst>
              <a:ext uri="{FF2B5EF4-FFF2-40B4-BE49-F238E27FC236}">
                <a16:creationId xmlns:a16="http://schemas.microsoft.com/office/drawing/2014/main" id="{7439C482-CA54-62DA-4A52-1AB527AFBA78}"/>
              </a:ext>
            </a:extLst>
          </p:cNvPr>
          <p:cNvSpPr>
            <a:spLocks noGrp="1"/>
          </p:cNvSpPr>
          <p:nvPr>
            <p:ph idx="1"/>
          </p:nvPr>
        </p:nvSpPr>
        <p:spPr>
          <a:xfrm>
            <a:off x="838200" y="1825625"/>
            <a:ext cx="10515600" cy="3978275"/>
          </a:xfrm>
        </p:spPr>
        <p:txBody>
          <a:bodyPr/>
          <a:lstStyle/>
          <a:p>
            <a:pPr lvl="1"/>
            <a:r>
              <a:rPr lang="fr-FR" dirty="0"/>
              <a:t>Si la première méthode de calcul n’est pas retenue par la juridiction, il convient d’appliquer une seconde méthode qui se concentre davantage sur l’âge de la victime, qui peut constituer un facteur important en matière de vie sexuelle. </a:t>
            </a:r>
          </a:p>
          <a:p>
            <a:pPr lvl="1"/>
            <a:endParaRPr lang="fr-FR" dirty="0"/>
          </a:p>
          <a:p>
            <a:pPr lvl="1"/>
            <a:r>
              <a:rPr lang="fr-FR" dirty="0"/>
              <a:t>Calculer du préjudice sexuel en déterminant le prix d’un rapport sexuel qui prendrait en considération les aspects du préjudice sexuel, ce qui a déjà été effectué (cf. diapositives 11 et 12) et de le multiplier par le nombre de rapports sexuels moyens en France, selon l’âge de la victime puisque la fréquence des rapports sexuels évolue effectivement selon l’âge. </a:t>
            </a:r>
          </a:p>
        </p:txBody>
      </p:sp>
    </p:spTree>
    <p:extLst>
      <p:ext uri="{BB962C8B-B14F-4D97-AF65-F5344CB8AC3E}">
        <p14:creationId xmlns:p14="http://schemas.microsoft.com/office/powerpoint/2010/main" val="4399170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51DFB6-642C-8E6D-53A4-8570EAFB790A}"/>
              </a:ext>
            </a:extLst>
          </p:cNvPr>
          <p:cNvSpPr>
            <a:spLocks noGrp="1"/>
          </p:cNvSpPr>
          <p:nvPr>
            <p:ph type="title"/>
          </p:nvPr>
        </p:nvSpPr>
        <p:spPr>
          <a:xfrm>
            <a:off x="838200" y="365126"/>
            <a:ext cx="9321800" cy="919221"/>
          </a:xfrm>
        </p:spPr>
        <p:txBody>
          <a:bodyPr/>
          <a:lstStyle/>
          <a:p>
            <a:r>
              <a:rPr lang="fr-FR" dirty="0"/>
              <a:t>Préjudice sexuel : Le caractère de l’âge de la victime</a:t>
            </a:r>
          </a:p>
        </p:txBody>
      </p:sp>
      <p:sp>
        <p:nvSpPr>
          <p:cNvPr id="3" name="Espace réservé du contenu 2">
            <a:extLst>
              <a:ext uri="{FF2B5EF4-FFF2-40B4-BE49-F238E27FC236}">
                <a16:creationId xmlns:a16="http://schemas.microsoft.com/office/drawing/2014/main" id="{59223D9A-9233-2455-02A5-949688BBD295}"/>
              </a:ext>
            </a:extLst>
          </p:cNvPr>
          <p:cNvSpPr>
            <a:spLocks noGrp="1"/>
          </p:cNvSpPr>
          <p:nvPr>
            <p:ph idx="1"/>
          </p:nvPr>
        </p:nvSpPr>
        <p:spPr>
          <a:xfrm>
            <a:off x="838200" y="1825625"/>
            <a:ext cx="10515600" cy="3978275"/>
          </a:xfrm>
        </p:spPr>
        <p:txBody>
          <a:bodyPr/>
          <a:lstStyle/>
          <a:p>
            <a:pPr lvl="1"/>
            <a:r>
              <a:rPr lang="fr-FR" dirty="0"/>
              <a:t>La fréquence des rapports sexuels évolue avec l’âge, le nombre de rapports sexuels ayant tendance à diminuer au fil de la vie. </a:t>
            </a:r>
          </a:p>
          <a:p>
            <a:pPr lvl="1"/>
            <a:endParaRPr lang="fr-FR" dirty="0"/>
          </a:p>
          <a:p>
            <a:pPr lvl="1"/>
            <a:r>
              <a:rPr lang="fr-FR" dirty="0"/>
              <a:t>Les victimes de dommage corporel sont également confrontées à ce phénomène, ou l’auraient été en cas d’impossibilité d’activité sexuelle, ce qu’il convient de prendre en compte. </a:t>
            </a:r>
          </a:p>
          <a:p>
            <a:pPr lvl="1"/>
            <a:endParaRPr lang="fr-FR" dirty="0"/>
          </a:p>
          <a:p>
            <a:pPr lvl="1"/>
            <a:r>
              <a:rPr lang="fr-FR" dirty="0"/>
              <a:t>Une étude menée sur le Contexte des sexualités en France, initiée et financée par l’ANRS Maladie infectieuses émergentes et menée par des chercheuses de l'Institut national de la santé et de la recherche médicale et de l’Université Paris 1 Panthéon-Sorbonne a déterminé, en recherchant le nombre de rapports sexuels dans les 4 dernières semaines de français, le nombre de rapport sexuel mensuel en fonction de l’âge en 2023 (Cf. tableau de la prochaine diapositive) </a:t>
            </a:r>
          </a:p>
          <a:p>
            <a:endParaRPr lang="fr-FR" dirty="0"/>
          </a:p>
          <a:p>
            <a:endParaRPr lang="fr-FR" dirty="0"/>
          </a:p>
        </p:txBody>
      </p:sp>
    </p:spTree>
    <p:extLst>
      <p:ext uri="{BB962C8B-B14F-4D97-AF65-F5344CB8AC3E}">
        <p14:creationId xmlns:p14="http://schemas.microsoft.com/office/powerpoint/2010/main" val="42502076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ED49F6-7AAA-D6A6-6B63-7B045897B463}"/>
              </a:ext>
            </a:extLst>
          </p:cNvPr>
          <p:cNvSpPr>
            <a:spLocks noGrp="1"/>
          </p:cNvSpPr>
          <p:nvPr>
            <p:ph type="title"/>
          </p:nvPr>
        </p:nvSpPr>
        <p:spPr>
          <a:xfrm>
            <a:off x="838200" y="365126"/>
            <a:ext cx="9321800" cy="919221"/>
          </a:xfrm>
        </p:spPr>
        <p:txBody>
          <a:bodyPr/>
          <a:lstStyle/>
          <a:p>
            <a:r>
              <a:rPr lang="fr-FR" dirty="0"/>
              <a:t>Préjudice sexuel : Le caractère de l’âge de la victime</a:t>
            </a:r>
          </a:p>
        </p:txBody>
      </p:sp>
      <p:sp>
        <p:nvSpPr>
          <p:cNvPr id="3" name="Espace réservé du contenu 2">
            <a:extLst>
              <a:ext uri="{FF2B5EF4-FFF2-40B4-BE49-F238E27FC236}">
                <a16:creationId xmlns:a16="http://schemas.microsoft.com/office/drawing/2014/main" id="{BD1FE8BD-3FA6-C47E-460B-351FD6CA6BD8}"/>
              </a:ext>
            </a:extLst>
          </p:cNvPr>
          <p:cNvSpPr>
            <a:spLocks noGrp="1"/>
          </p:cNvSpPr>
          <p:nvPr>
            <p:ph idx="1"/>
          </p:nvPr>
        </p:nvSpPr>
        <p:spPr>
          <a:xfrm>
            <a:off x="838200" y="1825625"/>
            <a:ext cx="10515600" cy="3978275"/>
          </a:xfrm>
        </p:spPr>
        <p:txBody>
          <a:bodyPr/>
          <a:lstStyle/>
          <a:p>
            <a:endParaRPr lang="fr-FR" dirty="0"/>
          </a:p>
          <a:p>
            <a:endParaRPr lang="fr-FR" dirty="0"/>
          </a:p>
          <a:p>
            <a:endParaRPr lang="fr-FR" dirty="0"/>
          </a:p>
          <a:p>
            <a:endParaRPr lang="fr-FR" dirty="0"/>
          </a:p>
          <a:p>
            <a:endParaRPr lang="fr-FR" dirty="0"/>
          </a:p>
          <a:p>
            <a:endParaRPr lang="fr-FR" dirty="0"/>
          </a:p>
          <a:p>
            <a:endParaRPr lang="fr-FR" sz="1600" dirty="0"/>
          </a:p>
          <a:p>
            <a:pPr algn="just"/>
            <a:r>
              <a:rPr lang="fr-FR" sz="1400" i="1" dirty="0">
                <a:solidFill>
                  <a:schemeClr val="accent1"/>
                </a:solidFill>
              </a:rPr>
              <a:t>*</a:t>
            </a:r>
            <a:r>
              <a:rPr lang="fr-FR" sz="1400" i="1" dirty="0"/>
              <a:t>L’étude ne porte que sur les personnes de 18 à 69 ans mais l’espérance de vie à la naissance étant de 85,6  ans pour une femme et de 80 ans pour un homme en 2024 d’après l’INSEE, il conviendra de se référer au nombre de rapports sexuels entre 60 et 69 ans pour la période postérieure au 69 ans de la victime. </a:t>
            </a:r>
          </a:p>
          <a:p>
            <a:pPr algn="just"/>
            <a:r>
              <a:rPr lang="fr-FR" sz="1600" dirty="0"/>
              <a:t>Il convient de préciser que ce tableau ne prend pas en compte les plaisirs dits solitaires, et n’est donc pas pleinement représentatif. </a:t>
            </a:r>
          </a:p>
          <a:p>
            <a:endParaRPr lang="fr-FR" dirty="0"/>
          </a:p>
          <a:p>
            <a:endParaRPr lang="fr-FR" dirty="0"/>
          </a:p>
          <a:p>
            <a:endParaRPr lang="fr-FR" dirty="0"/>
          </a:p>
        </p:txBody>
      </p:sp>
      <p:graphicFrame>
        <p:nvGraphicFramePr>
          <p:cNvPr id="5" name="Tableau 3">
            <a:extLst>
              <a:ext uri="{FF2B5EF4-FFF2-40B4-BE49-F238E27FC236}">
                <a16:creationId xmlns:a16="http://schemas.microsoft.com/office/drawing/2014/main" id="{6E89BCEC-BC32-EF3E-386C-8288D546D606}"/>
              </a:ext>
            </a:extLst>
          </p:cNvPr>
          <p:cNvGraphicFramePr>
            <a:graphicFrameLocks noGrp="1"/>
          </p:cNvGraphicFramePr>
          <p:nvPr>
            <p:extLst>
              <p:ext uri="{D42A27DB-BD31-4B8C-83A1-F6EECF244321}">
                <p14:modId xmlns:p14="http://schemas.microsoft.com/office/powerpoint/2010/main" val="811445994"/>
              </p:ext>
            </p:extLst>
          </p:nvPr>
        </p:nvGraphicFramePr>
        <p:xfrm>
          <a:off x="1570343" y="1378200"/>
          <a:ext cx="9051315" cy="2771907"/>
        </p:xfrm>
        <a:graphic>
          <a:graphicData uri="http://schemas.openxmlformats.org/drawingml/2006/table">
            <a:tbl>
              <a:tblPr firstRow="1" bandRow="1">
                <a:tableStyleId>{5C22544A-7EE6-4342-B048-85BDC9FD1C3A}</a:tableStyleId>
              </a:tblPr>
              <a:tblGrid>
                <a:gridCol w="3017105">
                  <a:extLst>
                    <a:ext uri="{9D8B030D-6E8A-4147-A177-3AD203B41FA5}">
                      <a16:colId xmlns:a16="http://schemas.microsoft.com/office/drawing/2014/main" val="3616577210"/>
                    </a:ext>
                  </a:extLst>
                </a:gridCol>
                <a:gridCol w="3017105">
                  <a:extLst>
                    <a:ext uri="{9D8B030D-6E8A-4147-A177-3AD203B41FA5}">
                      <a16:colId xmlns:a16="http://schemas.microsoft.com/office/drawing/2014/main" val="3450762232"/>
                    </a:ext>
                  </a:extLst>
                </a:gridCol>
                <a:gridCol w="3017105">
                  <a:extLst>
                    <a:ext uri="{9D8B030D-6E8A-4147-A177-3AD203B41FA5}">
                      <a16:colId xmlns:a16="http://schemas.microsoft.com/office/drawing/2014/main" val="3414717693"/>
                    </a:ext>
                  </a:extLst>
                </a:gridCol>
              </a:tblGrid>
              <a:tr h="408093">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Ag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Femm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6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Homme</a:t>
                      </a:r>
                      <a:endParaRPr lang="fr-FR" sz="16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885471828"/>
                  </a:ext>
                </a:extLst>
              </a:tr>
              <a:tr h="393969">
                <a:tc>
                  <a:txBody>
                    <a:bodyPr/>
                    <a:lstStyle/>
                    <a:p>
                      <a:pPr algn="just">
                        <a:spcAft>
                          <a:spcPts val="800"/>
                        </a:spcAft>
                        <a:buNone/>
                      </a:pPr>
                      <a:r>
                        <a:rPr lang="fr-FR" sz="1600" b="1" i="1" dirty="0">
                          <a:solidFill>
                            <a:srgbClr val="000000"/>
                          </a:solidFill>
                          <a:effectLst/>
                          <a:latin typeface="+mn-lt"/>
                          <a:ea typeface="Calibri" panose="020F0502020204030204" pitchFamily="34" charset="0"/>
                          <a:cs typeface="Times New Roman" panose="02020603050405020304" pitchFamily="18" charset="0"/>
                        </a:rPr>
                        <a:t>18-29 ans </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solidFill>
                            <a:srgbClr val="000000"/>
                          </a:solidFill>
                          <a:effectLst/>
                          <a:latin typeface="+mn-lt"/>
                          <a:ea typeface="Calibri" panose="020F0502020204030204" pitchFamily="34" charset="0"/>
                          <a:cs typeface="Times New Roman" panose="02020603050405020304" pitchFamily="18" charset="0"/>
                        </a:rPr>
                        <a:t>7,9</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a:solidFill>
                            <a:srgbClr val="000000"/>
                          </a:solidFill>
                          <a:effectLst/>
                          <a:latin typeface="+mn-lt"/>
                          <a:ea typeface="Calibri" panose="020F0502020204030204" pitchFamily="34" charset="0"/>
                          <a:cs typeface="Times New Roman" panose="02020603050405020304" pitchFamily="18" charset="0"/>
                        </a:rPr>
                        <a:t>9,1</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83194806"/>
                  </a:ext>
                </a:extLst>
              </a:tr>
              <a:tr h="393969">
                <a:tc>
                  <a:txBody>
                    <a:bodyPr/>
                    <a:lstStyle/>
                    <a:p>
                      <a:pPr algn="just">
                        <a:spcAft>
                          <a:spcPts val="800"/>
                        </a:spcAft>
                        <a:buNone/>
                      </a:pPr>
                      <a:r>
                        <a:rPr lang="fr-FR" sz="1600" b="1" i="1">
                          <a:solidFill>
                            <a:srgbClr val="000000"/>
                          </a:solidFill>
                          <a:effectLst/>
                          <a:latin typeface="+mn-lt"/>
                          <a:ea typeface="Calibri" panose="020F0502020204030204" pitchFamily="34" charset="0"/>
                          <a:cs typeface="Times New Roman" panose="02020603050405020304" pitchFamily="18" charset="0"/>
                        </a:rPr>
                        <a:t>30-39 ans </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effectLst/>
                          <a:latin typeface="+mn-lt"/>
                          <a:ea typeface="Calibri" panose="020F0502020204030204" pitchFamily="34" charset="0"/>
                          <a:cs typeface="Times New Roman" panose="02020603050405020304" pitchFamily="18" charset="0"/>
                        </a:rPr>
                        <a:t>6,9</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a:effectLst/>
                          <a:latin typeface="+mn-lt"/>
                          <a:ea typeface="Calibri" panose="020F0502020204030204" pitchFamily="34" charset="0"/>
                          <a:cs typeface="Times New Roman" panose="02020603050405020304" pitchFamily="18" charset="0"/>
                        </a:rPr>
                        <a:t>7,7</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740371739"/>
                  </a:ext>
                </a:extLst>
              </a:tr>
              <a:tr h="393969">
                <a:tc>
                  <a:txBody>
                    <a:bodyPr/>
                    <a:lstStyle/>
                    <a:p>
                      <a:pPr algn="just">
                        <a:spcAft>
                          <a:spcPts val="800"/>
                        </a:spcAft>
                        <a:buNone/>
                      </a:pPr>
                      <a:r>
                        <a:rPr lang="fr-FR" sz="1600" b="1" i="1" dirty="0">
                          <a:solidFill>
                            <a:srgbClr val="000000"/>
                          </a:solidFill>
                          <a:effectLst/>
                          <a:latin typeface="+mn-lt"/>
                          <a:ea typeface="Calibri" panose="020F0502020204030204" pitchFamily="34" charset="0"/>
                          <a:cs typeface="Times New Roman" panose="02020603050405020304" pitchFamily="18" charset="0"/>
                        </a:rPr>
                        <a:t>40-49 ans </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solidFill>
                            <a:srgbClr val="000000"/>
                          </a:solidFill>
                          <a:effectLst/>
                          <a:latin typeface="+mn-lt"/>
                          <a:ea typeface="Calibri" panose="020F0502020204030204" pitchFamily="34" charset="0"/>
                          <a:cs typeface="Times New Roman" panose="02020603050405020304" pitchFamily="18" charset="0"/>
                        </a:rPr>
                        <a:t>6,2</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solidFill>
                            <a:srgbClr val="000000"/>
                          </a:solidFill>
                          <a:effectLst/>
                          <a:latin typeface="+mn-lt"/>
                          <a:ea typeface="Calibri" panose="020F0502020204030204" pitchFamily="34" charset="0"/>
                          <a:cs typeface="Times New Roman" panose="02020603050405020304" pitchFamily="18" charset="0"/>
                        </a:rPr>
                        <a:t>7,1</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384369886"/>
                  </a:ext>
                </a:extLst>
              </a:tr>
              <a:tr h="393969">
                <a:tc>
                  <a:txBody>
                    <a:bodyPr/>
                    <a:lstStyle/>
                    <a:p>
                      <a:pPr algn="just">
                        <a:spcAft>
                          <a:spcPts val="800"/>
                        </a:spcAft>
                        <a:buNone/>
                      </a:pPr>
                      <a:r>
                        <a:rPr lang="fr-FR" sz="1600" b="1" i="1" dirty="0">
                          <a:solidFill>
                            <a:srgbClr val="000000"/>
                          </a:solidFill>
                          <a:effectLst/>
                          <a:latin typeface="+mn-lt"/>
                          <a:ea typeface="Calibri" panose="020F0502020204030204" pitchFamily="34" charset="0"/>
                          <a:cs typeface="Times New Roman" panose="02020603050405020304" pitchFamily="18" charset="0"/>
                        </a:rPr>
                        <a:t>50-59 ans </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effectLst/>
                          <a:latin typeface="+mn-lt"/>
                          <a:ea typeface="Calibri" panose="020F0502020204030204" pitchFamily="34" charset="0"/>
                          <a:cs typeface="Times New Roman" panose="02020603050405020304" pitchFamily="18" charset="0"/>
                        </a:rPr>
                        <a:t>5,0</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effectLst/>
                          <a:latin typeface="+mn-lt"/>
                          <a:ea typeface="Calibri" panose="020F0502020204030204" pitchFamily="34" charset="0"/>
                          <a:cs typeface="Times New Roman" panose="02020603050405020304" pitchFamily="18" charset="0"/>
                        </a:rPr>
                        <a:t>5,8</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287206021"/>
                  </a:ext>
                </a:extLst>
              </a:tr>
              <a:tr h="393969">
                <a:tc>
                  <a:txBody>
                    <a:bodyPr/>
                    <a:lstStyle/>
                    <a:p>
                      <a:pPr algn="just">
                        <a:spcAft>
                          <a:spcPts val="800"/>
                        </a:spcAft>
                        <a:buNone/>
                      </a:pPr>
                      <a:r>
                        <a:rPr lang="fr-FR" sz="1600" b="1" i="1" dirty="0">
                          <a:solidFill>
                            <a:srgbClr val="000000"/>
                          </a:solidFill>
                          <a:effectLst/>
                          <a:latin typeface="+mn-lt"/>
                          <a:ea typeface="Calibri" panose="020F0502020204030204" pitchFamily="34" charset="0"/>
                          <a:cs typeface="Times New Roman" panose="02020603050405020304" pitchFamily="18" charset="0"/>
                        </a:rPr>
                        <a:t>60-69 ans</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a:solidFill>
                            <a:srgbClr val="000000"/>
                          </a:solidFill>
                          <a:effectLst/>
                          <a:latin typeface="+mn-lt"/>
                          <a:ea typeface="Calibri" panose="020F0502020204030204" pitchFamily="34" charset="0"/>
                          <a:cs typeface="Times New Roman" panose="02020603050405020304" pitchFamily="18" charset="0"/>
                        </a:rPr>
                        <a:t>3,3</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600" b="1" dirty="0">
                          <a:solidFill>
                            <a:srgbClr val="000000"/>
                          </a:solidFill>
                          <a:effectLst/>
                          <a:latin typeface="+mn-lt"/>
                          <a:ea typeface="Calibri" panose="020F0502020204030204" pitchFamily="34" charset="0"/>
                          <a:cs typeface="Times New Roman" panose="02020603050405020304" pitchFamily="18" charset="0"/>
                        </a:rPr>
                        <a:t>4,3</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332904173"/>
                  </a:ext>
                </a:extLst>
              </a:tr>
              <a:tr h="393969">
                <a:tc>
                  <a:txBody>
                    <a:bodyPr/>
                    <a:lstStyle/>
                    <a:p>
                      <a:pPr algn="just">
                        <a:spcAft>
                          <a:spcPts val="800"/>
                        </a:spcAft>
                        <a:buNone/>
                      </a:pPr>
                      <a:r>
                        <a:rPr lang="fr-FR" sz="1600" b="1" i="1" dirty="0">
                          <a:solidFill>
                            <a:srgbClr val="000000"/>
                          </a:solidFill>
                          <a:effectLst/>
                          <a:latin typeface="+mn-lt"/>
                          <a:ea typeface="Calibri" panose="020F0502020204030204" pitchFamily="34" charset="0"/>
                          <a:cs typeface="Times New Roman" panose="02020603050405020304" pitchFamily="18" charset="0"/>
                        </a:rPr>
                        <a:t>Après 70 ans</a:t>
                      </a:r>
                      <a:r>
                        <a:rPr lang="fr-FR" sz="1600" b="1" i="1" dirty="0">
                          <a:solidFill>
                            <a:schemeClr val="accent1"/>
                          </a:solidFill>
                          <a:effectLst/>
                          <a:latin typeface="+mn-lt"/>
                          <a:ea typeface="Calibri" panose="020F0502020204030204" pitchFamily="34" charset="0"/>
                          <a:cs typeface="Times New Roman" panose="02020603050405020304" pitchFamily="18" charset="0"/>
                        </a:rPr>
                        <a:t>*</a:t>
                      </a:r>
                      <a:endParaRPr lang="fr-FR" sz="1600" dirty="0">
                        <a:solidFill>
                          <a:schemeClr val="accent1"/>
                        </a:solidFill>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spcAft>
                          <a:spcPts val="800"/>
                        </a:spcAft>
                        <a:buNone/>
                      </a:pPr>
                      <a:r>
                        <a:rPr lang="fr-FR" sz="1600" b="1">
                          <a:effectLst/>
                          <a:latin typeface="+mn-lt"/>
                          <a:ea typeface="Calibri" panose="020F0502020204030204" pitchFamily="34" charset="0"/>
                          <a:cs typeface="Times New Roman" panose="02020603050405020304" pitchFamily="18" charset="0"/>
                        </a:rPr>
                        <a:t>3,3</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spcAft>
                          <a:spcPts val="800"/>
                        </a:spcAft>
                        <a:buNone/>
                      </a:pPr>
                      <a:r>
                        <a:rPr lang="fr-FR" sz="1600" b="1" dirty="0">
                          <a:effectLst/>
                          <a:latin typeface="+mn-lt"/>
                          <a:ea typeface="Calibri" panose="020F0502020204030204" pitchFamily="34" charset="0"/>
                          <a:cs typeface="Times New Roman" panose="02020603050405020304" pitchFamily="18" charset="0"/>
                        </a:rPr>
                        <a:t>4,3</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38866448"/>
                  </a:ext>
                </a:extLst>
              </a:tr>
            </a:tbl>
          </a:graphicData>
        </a:graphic>
      </p:graphicFrame>
    </p:spTree>
    <p:extLst>
      <p:ext uri="{BB962C8B-B14F-4D97-AF65-F5344CB8AC3E}">
        <p14:creationId xmlns:p14="http://schemas.microsoft.com/office/powerpoint/2010/main" val="28181261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9A7956-2638-F10C-2ADF-5E77741D2E3B}"/>
              </a:ext>
            </a:extLst>
          </p:cNvPr>
          <p:cNvSpPr>
            <a:spLocks noGrp="1"/>
          </p:cNvSpPr>
          <p:nvPr>
            <p:ph type="title"/>
          </p:nvPr>
        </p:nvSpPr>
        <p:spPr/>
        <p:txBody>
          <a:bodyPr/>
          <a:lstStyle/>
          <a:p>
            <a:r>
              <a:rPr lang="fr-FR" dirty="0"/>
              <a:t>Préjudice sexuel : Le caractère de l’âge de la victime</a:t>
            </a:r>
          </a:p>
        </p:txBody>
      </p:sp>
      <p:sp>
        <p:nvSpPr>
          <p:cNvPr id="3" name="Espace réservé du contenu 2">
            <a:extLst>
              <a:ext uri="{FF2B5EF4-FFF2-40B4-BE49-F238E27FC236}">
                <a16:creationId xmlns:a16="http://schemas.microsoft.com/office/drawing/2014/main" id="{C0CBF490-08FB-90FB-BC55-CB059BA0BC95}"/>
              </a:ext>
            </a:extLst>
          </p:cNvPr>
          <p:cNvSpPr>
            <a:spLocks noGrp="1"/>
          </p:cNvSpPr>
          <p:nvPr>
            <p:ph idx="1"/>
          </p:nvPr>
        </p:nvSpPr>
        <p:spPr/>
        <p:txBody>
          <a:bodyPr/>
          <a:lstStyle/>
          <a:p>
            <a:pPr marL="552450" lvl="1" indent="-285750" algn="just">
              <a:buFont typeface="Arial" panose="020B0604020202020204" pitchFamily="34" charset="0"/>
              <a:buChar char="•"/>
            </a:pPr>
            <a:r>
              <a:rPr lang="fr-FR" sz="2000" dirty="0"/>
              <a:t>Détermination du nombre d’années d’espérance de vie de la victime à partir des tables espérance de vie selon résultats provisoires arrêtés à la fin de l’année 2022 de l’INSEE. </a:t>
            </a:r>
          </a:p>
          <a:p>
            <a:pPr marL="552450" lvl="1" indent="-285750" algn="just">
              <a:buFont typeface="Arial" panose="020B0604020202020204" pitchFamily="34" charset="0"/>
              <a:buChar char="•"/>
            </a:pPr>
            <a:r>
              <a:rPr lang="fr-FR" sz="2000" dirty="0"/>
              <a:t>Evaluation du préjudice sexuel de la victime jusqu’à l’âge précité. </a:t>
            </a:r>
          </a:p>
          <a:p>
            <a:pPr marL="552450" lvl="1" indent="-285750" algn="just">
              <a:buFont typeface="Arial" panose="020B0604020202020204" pitchFamily="34" charset="0"/>
              <a:buChar char="•"/>
            </a:pPr>
            <a:endParaRPr lang="fr-FR" sz="2000" dirty="0"/>
          </a:p>
          <a:p>
            <a:pPr marL="552450" lvl="1" indent="-285750" algn="just">
              <a:buFont typeface="Arial" panose="020B0604020202020204" pitchFamily="34" charset="0"/>
              <a:buChar char="•"/>
            </a:pPr>
            <a:endParaRPr lang="fr-FR" sz="2000" dirty="0"/>
          </a:p>
          <a:p>
            <a:pPr marL="552450" lvl="1" indent="-285750" algn="just">
              <a:buFont typeface="Arial" panose="020B0604020202020204" pitchFamily="34" charset="0"/>
              <a:buChar char="•"/>
            </a:pPr>
            <a:r>
              <a:rPr lang="fr-FR" sz="2000" dirty="0"/>
              <a:t>Pour calculer le préjudice sexuel de la victime, il convient de calculer le nombre de rapports sexuels annuels de la victime jusqu’à la fin de son espérance de vie, selon sa catégorie d’âge et de le multiplier par le coût de son préjudice sexuel, selon le tableau de la diapositive suivante. </a:t>
            </a:r>
          </a:p>
          <a:p>
            <a:pPr marL="552450" lvl="1" indent="-285750" algn="just">
              <a:buFont typeface="Arial" panose="020B0604020202020204" pitchFamily="34" charset="0"/>
              <a:buChar char="•"/>
            </a:pPr>
            <a:r>
              <a:rPr lang="fr-FR" sz="2000" i="1" dirty="0"/>
              <a:t>(Pour une femme âgée de 18 ans à la consolidation, 10 euros du rapport sexuel)</a:t>
            </a:r>
          </a:p>
          <a:p>
            <a:pPr algn="just"/>
            <a:endParaRPr lang="fr-FR" dirty="0"/>
          </a:p>
        </p:txBody>
      </p:sp>
    </p:spTree>
    <p:extLst>
      <p:ext uri="{BB962C8B-B14F-4D97-AF65-F5344CB8AC3E}">
        <p14:creationId xmlns:p14="http://schemas.microsoft.com/office/powerpoint/2010/main" val="39416458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95D7ACB-FBDE-3461-4815-3DCAE5188DEA}"/>
              </a:ext>
            </a:extLst>
          </p:cNvPr>
          <p:cNvSpPr>
            <a:spLocks noGrp="1"/>
          </p:cNvSpPr>
          <p:nvPr>
            <p:ph type="title"/>
          </p:nvPr>
        </p:nvSpPr>
        <p:spPr/>
        <p:txBody>
          <a:bodyPr/>
          <a:lstStyle/>
          <a:p>
            <a:r>
              <a:rPr lang="fr-FR" dirty="0"/>
              <a:t>Préjudice sexuel : Le caractère de l’âge de la victime</a:t>
            </a:r>
          </a:p>
        </p:txBody>
      </p:sp>
      <p:sp>
        <p:nvSpPr>
          <p:cNvPr id="3" name="Espace réservé du contenu 2">
            <a:extLst>
              <a:ext uri="{FF2B5EF4-FFF2-40B4-BE49-F238E27FC236}">
                <a16:creationId xmlns:a16="http://schemas.microsoft.com/office/drawing/2014/main" id="{9EDD7FF7-AD5F-869D-4F76-00ED0913075F}"/>
              </a:ext>
            </a:extLst>
          </p:cNvPr>
          <p:cNvSpPr>
            <a:spLocks noGrp="1"/>
          </p:cNvSpPr>
          <p:nvPr>
            <p:ph idx="1"/>
          </p:nvPr>
        </p:nvSpPr>
        <p:spPr/>
        <p:txBody>
          <a:bodyPr/>
          <a:lstStyle/>
          <a:p>
            <a:endParaRPr lang="fr-FR" dirty="0"/>
          </a:p>
          <a:p>
            <a:endParaRPr lang="fr-FR" dirty="0"/>
          </a:p>
        </p:txBody>
      </p:sp>
      <p:graphicFrame>
        <p:nvGraphicFramePr>
          <p:cNvPr id="4" name="Tableau 3">
            <a:extLst>
              <a:ext uri="{FF2B5EF4-FFF2-40B4-BE49-F238E27FC236}">
                <a16:creationId xmlns:a16="http://schemas.microsoft.com/office/drawing/2014/main" id="{6BF65653-0947-E4CE-0E12-3357A62B64CD}"/>
              </a:ext>
            </a:extLst>
          </p:cNvPr>
          <p:cNvGraphicFramePr>
            <a:graphicFrameLocks noGrp="1"/>
          </p:cNvGraphicFramePr>
          <p:nvPr>
            <p:extLst>
              <p:ext uri="{D42A27DB-BD31-4B8C-83A1-F6EECF244321}">
                <p14:modId xmlns:p14="http://schemas.microsoft.com/office/powerpoint/2010/main" val="2664924437"/>
              </p:ext>
            </p:extLst>
          </p:nvPr>
        </p:nvGraphicFramePr>
        <p:xfrm>
          <a:off x="1435100" y="1284347"/>
          <a:ext cx="9321800" cy="4537327"/>
        </p:xfrm>
        <a:graphic>
          <a:graphicData uri="http://schemas.openxmlformats.org/drawingml/2006/table">
            <a:tbl>
              <a:tblPr firstRow="1" bandRow="1">
                <a:tableStyleId>{5C22544A-7EE6-4342-B048-85BDC9FD1C3A}</a:tableStyleId>
              </a:tblPr>
              <a:tblGrid>
                <a:gridCol w="2330450">
                  <a:extLst>
                    <a:ext uri="{9D8B030D-6E8A-4147-A177-3AD203B41FA5}">
                      <a16:colId xmlns:a16="http://schemas.microsoft.com/office/drawing/2014/main" val="248937500"/>
                    </a:ext>
                  </a:extLst>
                </a:gridCol>
                <a:gridCol w="2102674">
                  <a:extLst>
                    <a:ext uri="{9D8B030D-6E8A-4147-A177-3AD203B41FA5}">
                      <a16:colId xmlns:a16="http://schemas.microsoft.com/office/drawing/2014/main" val="850471990"/>
                    </a:ext>
                  </a:extLst>
                </a:gridCol>
                <a:gridCol w="2996376">
                  <a:extLst>
                    <a:ext uri="{9D8B030D-6E8A-4147-A177-3AD203B41FA5}">
                      <a16:colId xmlns:a16="http://schemas.microsoft.com/office/drawing/2014/main" val="4220225116"/>
                    </a:ext>
                  </a:extLst>
                </a:gridCol>
                <a:gridCol w="1892300">
                  <a:extLst>
                    <a:ext uri="{9D8B030D-6E8A-4147-A177-3AD203B41FA5}">
                      <a16:colId xmlns:a16="http://schemas.microsoft.com/office/drawing/2014/main" val="3552647804"/>
                    </a:ext>
                  </a:extLst>
                </a:gridCol>
              </a:tblGrid>
              <a:tr h="450457">
                <a:tc>
                  <a:txBody>
                    <a:bodyPr/>
                    <a:lstStyle/>
                    <a:p>
                      <a:pPr algn="ctr">
                        <a:spcAft>
                          <a:spcPts val="800"/>
                        </a:spcAft>
                        <a:buNone/>
                      </a:pPr>
                      <a:r>
                        <a:rPr lang="fr-FR" sz="1100" b="1" dirty="0">
                          <a:effectLst/>
                          <a:latin typeface="DIN 2014" panose="020B0504020202020204" pitchFamily="34" charset="0"/>
                          <a:ea typeface="DIN 2014" panose="020B0504020202020204" pitchFamily="34" charset="0"/>
                          <a:cs typeface="Times New Roman" panose="02020603050405020304" pitchFamily="18" charset="0"/>
                        </a:rPr>
                        <a:t>Tranche d’âge à partir de 18 ans </a:t>
                      </a:r>
                      <a:br>
                        <a:rPr lang="fr-FR" sz="1100" b="1" dirty="0">
                          <a:effectLst/>
                          <a:latin typeface="DIN 2014" panose="020B0504020202020204" pitchFamily="34" charset="0"/>
                          <a:ea typeface="DIN 2014" panose="020B0504020202020204" pitchFamily="34" charset="0"/>
                          <a:cs typeface="Times New Roman" panose="02020603050405020304" pitchFamily="18" charset="0"/>
                        </a:rPr>
                      </a:br>
                      <a:r>
                        <a:rPr lang="fr-FR" sz="1100" b="1" i="1" dirty="0">
                          <a:effectLst/>
                          <a:latin typeface="DIN 2014" panose="020B0504020202020204" pitchFamily="34" charset="0"/>
                          <a:ea typeface="DIN 2014" panose="020B0504020202020204" pitchFamily="34" charset="0"/>
                          <a:cs typeface="Times New Roman" panose="02020603050405020304" pitchFamily="18" charset="0"/>
                        </a:rPr>
                        <a:t>(âge de la consolidation)</a:t>
                      </a:r>
                      <a:endParaRPr lang="fr-FR" sz="11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100" b="1" dirty="0">
                          <a:effectLst/>
                          <a:latin typeface="DIN 2014" panose="020B0504020202020204" pitchFamily="34" charset="0"/>
                          <a:ea typeface="DIN 2014" panose="020B0504020202020204" pitchFamily="34" charset="0"/>
                          <a:cs typeface="Times New Roman" panose="02020603050405020304" pitchFamily="18" charset="0"/>
                        </a:rPr>
                        <a:t>Nombre de rapports sexuels</a:t>
                      </a:r>
                      <a:endParaRPr lang="fr-FR" sz="11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100" b="1" dirty="0">
                          <a:effectLst/>
                          <a:latin typeface="DIN 2014" panose="020B0504020202020204" pitchFamily="34" charset="0"/>
                          <a:ea typeface="DIN 2014" panose="020B0504020202020204" pitchFamily="34" charset="0"/>
                          <a:cs typeface="Times New Roman" panose="02020603050405020304" pitchFamily="18" charset="0"/>
                        </a:rPr>
                        <a:t>Calcul</a:t>
                      </a:r>
                      <a:endParaRPr lang="fr-FR" sz="11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spcAft>
                          <a:spcPts val="800"/>
                        </a:spcAft>
                        <a:buNone/>
                      </a:pPr>
                      <a:r>
                        <a:rPr lang="fr-FR" sz="1100" b="1" dirty="0">
                          <a:effectLst/>
                          <a:latin typeface="DIN 2014" panose="020B0504020202020204" pitchFamily="34" charset="0"/>
                          <a:ea typeface="DIN 2014" panose="020B0504020202020204" pitchFamily="34" charset="0"/>
                          <a:cs typeface="Times New Roman" panose="02020603050405020304" pitchFamily="18" charset="0"/>
                        </a:rPr>
                        <a:t>Résultats </a:t>
                      </a:r>
                      <a:endParaRPr lang="fr-FR" sz="11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718036661"/>
                  </a:ext>
                </a:extLst>
              </a:tr>
              <a:tr h="559310">
                <a:tc>
                  <a:txBody>
                    <a:bodyPr/>
                    <a:lstStyle/>
                    <a:p>
                      <a:r>
                        <a:rPr lang="fr-FR" sz="1200" dirty="0"/>
                        <a:t>18-29 ans </a:t>
                      </a:r>
                    </a:p>
                  </a:txBody>
                  <a:tcPr anchor="ct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200" dirty="0"/>
                        <a:t>7,9 par mois soit 94,8 par an.</a:t>
                      </a:r>
                    </a:p>
                  </a:txBody>
                  <a:tcPr anchor="ct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200" dirty="0"/>
                        <a:t>. 94,8 x 12 années = 1.137,60 rapports sexuels. </a:t>
                      </a:r>
                    </a:p>
                    <a:p>
                      <a:r>
                        <a:rPr lang="fr-FR" sz="1200" dirty="0"/>
                        <a:t>. 1.137,60 x 10 euros par rapport sexuel. </a:t>
                      </a:r>
                    </a:p>
                  </a:txBody>
                  <a:tcPr anchor="ct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200" dirty="0"/>
                        <a:t>11.376 euros. </a:t>
                      </a:r>
                    </a:p>
                  </a:txBody>
                  <a:tcPr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77415805"/>
                  </a:ext>
                </a:extLst>
              </a:tr>
              <a:tr h="559310">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30-39 an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6,9 par mois soit 82,8 par an.</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200" dirty="0"/>
                        <a:t>. 82,8 x 10 années = 828 rapports sexuels. </a:t>
                      </a:r>
                    </a:p>
                    <a:p>
                      <a:r>
                        <a:rPr lang="fr-FR" sz="1200" dirty="0"/>
                        <a:t>. 828 x 10 euros par rapport sexuel.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200" dirty="0"/>
                        <a:t>8.280 euros. </a:t>
                      </a:r>
                    </a:p>
                  </a:txBody>
                  <a:tcPr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221757626"/>
                  </a:ext>
                </a:extLst>
              </a:tr>
              <a:tr h="559310">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0-49 an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2 par mois soit 74,4 par an.</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74,4 x 10 années = 744 rapports sexuel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744 x 10 euros par rapport sexuel.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7.440 euros.</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185566311"/>
                  </a:ext>
                </a:extLst>
              </a:tr>
              <a:tr h="559310">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50-59 an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5,0 par mois soit 60 par an.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 60 x 10 années = 600 rapports sexuels. </a:t>
                      </a:r>
                    </a:p>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 600 x 10 euros par rapport sexuel.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6.000 euros.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76181725"/>
                  </a:ext>
                </a:extLst>
              </a:tr>
              <a:tr h="559310">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0-69 ans</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3,3 par mois soit 39,6 par an.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39,6 x 10 années = 396 rapports sexuel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396 x 10 euros par rapport sexuel.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3.960 euros.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607242054"/>
                  </a:ext>
                </a:extLst>
              </a:tr>
              <a:tr h="559310">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De 70 ans à </a:t>
                      </a: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85,72</a:t>
                      </a:r>
                      <a:r>
                        <a:rPr lang="fr-FR" sz="1200" b="1" dirty="0">
                          <a:effectLst/>
                          <a:latin typeface="DIN 2014" panose="020B0504020202020204" pitchFamily="34" charset="0"/>
                          <a:ea typeface="DIN 2014" panose="020B0504020202020204" pitchFamily="34" charset="0"/>
                          <a:cs typeface="Times New Roman" panose="02020603050405020304" pitchFamily="18" charset="0"/>
                        </a:rPr>
                        <a:t> ans</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b="1" dirty="0">
                          <a:effectLst/>
                          <a:latin typeface="DIN 2014" panose="020B0504020202020204" pitchFamily="34" charset="0"/>
                          <a:ea typeface="DIN 2014" panose="020B0504020202020204" pitchFamily="34" charset="0"/>
                          <a:cs typeface="Times New Roman" panose="02020603050405020304" pitchFamily="18" charset="0"/>
                        </a:rPr>
                        <a:t>3,3 par mois soit 39,6 par an.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39,6 x 15,72 années =622,51 rapports sexuels. </a:t>
                      </a:r>
                    </a:p>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622,51 x 10 euros par rapport sexuel.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6.225,10 euros.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75020233"/>
                  </a:ext>
                </a:extLst>
              </a:tr>
              <a:tr h="559310">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TOTAL : </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200" dirty="0">
                          <a:effectLst/>
                          <a:latin typeface="DIN 2014" panose="020B0504020202020204" pitchFamily="34" charset="0"/>
                          <a:ea typeface="DIN 2014" panose="020B0504020202020204" pitchFamily="34" charset="0"/>
                          <a:cs typeface="Times New Roman" panose="02020603050405020304" pitchFamily="18" charset="0"/>
                        </a:rPr>
                        <a:t>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2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3.281,10 euros</a:t>
                      </a:r>
                      <a:endParaRPr lang="fr-FR" sz="12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22368731"/>
                  </a:ext>
                </a:extLst>
              </a:tr>
            </a:tbl>
          </a:graphicData>
        </a:graphic>
      </p:graphicFrame>
    </p:spTree>
    <p:extLst>
      <p:ext uri="{BB962C8B-B14F-4D97-AF65-F5344CB8AC3E}">
        <p14:creationId xmlns:p14="http://schemas.microsoft.com/office/powerpoint/2010/main" val="27983179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DF4B34-AA91-8239-3A24-D1CE3FC68104}"/>
              </a:ext>
            </a:extLst>
          </p:cNvPr>
          <p:cNvSpPr>
            <a:spLocks noGrp="1"/>
          </p:cNvSpPr>
          <p:nvPr>
            <p:ph type="title"/>
          </p:nvPr>
        </p:nvSpPr>
        <p:spPr>
          <a:xfrm>
            <a:off x="838200" y="365126"/>
            <a:ext cx="9321800" cy="919221"/>
          </a:xfrm>
        </p:spPr>
        <p:txBody>
          <a:bodyPr/>
          <a:lstStyle/>
          <a:p>
            <a:r>
              <a:rPr lang="fr-FR" dirty="0"/>
              <a:t>Préjudice sexuel des victimes indirectes : définition </a:t>
            </a:r>
          </a:p>
        </p:txBody>
      </p:sp>
      <p:sp>
        <p:nvSpPr>
          <p:cNvPr id="3" name="Espace réservé du contenu 2">
            <a:extLst>
              <a:ext uri="{FF2B5EF4-FFF2-40B4-BE49-F238E27FC236}">
                <a16:creationId xmlns:a16="http://schemas.microsoft.com/office/drawing/2014/main" id="{96E55EF2-124A-CECC-A41E-E9A2FE0A6378}"/>
              </a:ext>
            </a:extLst>
          </p:cNvPr>
          <p:cNvSpPr>
            <a:spLocks noGrp="1"/>
          </p:cNvSpPr>
          <p:nvPr>
            <p:ph idx="1"/>
          </p:nvPr>
        </p:nvSpPr>
        <p:spPr>
          <a:xfrm>
            <a:off x="838200" y="1825625"/>
            <a:ext cx="10515600" cy="3978275"/>
          </a:xfrm>
        </p:spPr>
        <p:txBody>
          <a:bodyPr/>
          <a:lstStyle/>
          <a:p>
            <a:pPr lvl="1"/>
            <a:r>
              <a:rPr lang="fr-FR" dirty="0"/>
              <a:t>Le conjoint de la victime directe subit un préjudice personnel et autonome, résultant des conséquences du fait dommageable sur la vie intime et conjugale du couple. </a:t>
            </a:r>
          </a:p>
          <a:p>
            <a:pPr lvl="1"/>
            <a:r>
              <a:rPr lang="fr-FR" dirty="0"/>
              <a:t>Ce préjudice sexuel, distinct de celui qui est enduré par la victime directe, ne se limite pas à la seule impossibilité d’entretenir des relations sexuelles, mais s’étend à l’altération durable de la vie affective, intime et relationnelle du couple. </a:t>
            </a:r>
          </a:p>
          <a:p>
            <a:pPr lvl="1"/>
            <a:r>
              <a:rPr lang="fr-FR" dirty="0"/>
              <a:t>Dans un arrêt du 30 juin 2021, la Cour de cassation a explicitement reconnu l’existence d’un préjudice sexuel pour les victimes indirectes :   </a:t>
            </a:r>
          </a:p>
          <a:p>
            <a:r>
              <a:rPr lang="fr-FR" dirty="0"/>
              <a:t>	</a:t>
            </a:r>
            <a:r>
              <a:rPr lang="fr-FR" i="1" dirty="0"/>
              <a:t>« Vu (…) le principe d'une réparation intégrale sans perte ni profit pour la victime :</a:t>
            </a:r>
          </a:p>
          <a:p>
            <a:r>
              <a:rPr lang="fr-FR" dirty="0"/>
              <a:t>13. </a:t>
            </a:r>
            <a:r>
              <a:rPr lang="fr-FR" i="1" dirty="0"/>
              <a:t>En application de ce principe, le préjudice sexuel, qui comprend tous les préjudices touchant à la sphère sexuelle, peut être éprouvé par ricochet par le conjoint de la victime directe qui, à la suite du fait dommageable, subit elle-même un tel préjudice. » </a:t>
            </a:r>
          </a:p>
          <a:p>
            <a:pPr algn="ctr"/>
            <a:r>
              <a:rPr lang="fr-FR" b="1" dirty="0"/>
              <a:t>Cass., </a:t>
            </a:r>
            <a:r>
              <a:rPr lang="fr-FR" b="1" dirty="0" err="1"/>
              <a:t>Civ</a:t>
            </a:r>
            <a:r>
              <a:rPr lang="fr-FR" b="1" dirty="0"/>
              <a:t>. 1</a:t>
            </a:r>
            <a:r>
              <a:rPr lang="fr-FR" b="1" baseline="30000" dirty="0"/>
              <a:t>ère</a:t>
            </a:r>
            <a:r>
              <a:rPr lang="fr-FR" b="1" dirty="0"/>
              <a:t>, 30 juin 2021, n°19-22.787</a:t>
            </a:r>
          </a:p>
          <a:p>
            <a:endParaRPr lang="fr-FR" dirty="0"/>
          </a:p>
        </p:txBody>
      </p:sp>
    </p:spTree>
    <p:extLst>
      <p:ext uri="{BB962C8B-B14F-4D97-AF65-F5344CB8AC3E}">
        <p14:creationId xmlns:p14="http://schemas.microsoft.com/office/powerpoint/2010/main" val="8434741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CE2F0D-6D6E-E290-95E8-210F0D705CC4}"/>
              </a:ext>
            </a:extLst>
          </p:cNvPr>
          <p:cNvSpPr>
            <a:spLocks noGrp="1"/>
          </p:cNvSpPr>
          <p:nvPr>
            <p:ph type="title"/>
          </p:nvPr>
        </p:nvSpPr>
        <p:spPr/>
        <p:txBody>
          <a:bodyPr/>
          <a:lstStyle/>
          <a:p>
            <a:pPr algn="just"/>
            <a:r>
              <a:rPr lang="fr-FR" dirty="0"/>
              <a:t>Préjudice sexuel des victimes indirectes : définition </a:t>
            </a:r>
          </a:p>
        </p:txBody>
      </p:sp>
      <p:sp>
        <p:nvSpPr>
          <p:cNvPr id="3" name="Espace réservé du contenu 2">
            <a:extLst>
              <a:ext uri="{FF2B5EF4-FFF2-40B4-BE49-F238E27FC236}">
                <a16:creationId xmlns:a16="http://schemas.microsoft.com/office/drawing/2014/main" id="{2991AE3C-72C2-91C8-895A-EC502610051F}"/>
              </a:ext>
            </a:extLst>
          </p:cNvPr>
          <p:cNvSpPr>
            <a:spLocks noGrp="1"/>
          </p:cNvSpPr>
          <p:nvPr>
            <p:ph idx="1"/>
          </p:nvPr>
        </p:nvSpPr>
        <p:spPr>
          <a:xfrm>
            <a:off x="838200" y="1642745"/>
            <a:ext cx="10515600" cy="3978275"/>
          </a:xfrm>
        </p:spPr>
        <p:txBody>
          <a:bodyPr/>
          <a:lstStyle/>
          <a:p>
            <a:pPr algn="just"/>
            <a:r>
              <a:rPr lang="fr-FR" sz="1600" dirty="0"/>
              <a:t>Cette position est également consacrée par la jurisprudence des Cours d’appel : </a:t>
            </a:r>
          </a:p>
          <a:p>
            <a:pPr algn="just"/>
            <a:endParaRPr lang="fr-FR" sz="1600" dirty="0"/>
          </a:p>
          <a:p>
            <a:pPr algn="just"/>
            <a:r>
              <a:rPr lang="fr-FR" sz="1600" i="1" dirty="0"/>
              <a:t>« 14) Sur l’indemnisation du préjudice sexuel de Madame [K] [Y] :</a:t>
            </a:r>
            <a:endParaRPr lang="fr-FR" sz="1600" dirty="0"/>
          </a:p>
          <a:p>
            <a:pPr algn="just"/>
            <a:r>
              <a:rPr lang="fr-FR" sz="1600" i="1" dirty="0"/>
              <a:t>Le fait pour Monsieur [U] [Y] de subir un préjudice sexuel ayant un retentissement direct sur la qualité des relations intimes qu’il souhaite avoir avec son épouse et sur la façon dont le couple [Y] doit aborder et vivre sa sexualité, en relation avec les divers désagréments physiques que connaît le mari et la baisse de la libido qui en résulte, justifie d’indemniser le préjudice sexuel de Madame [K] [Y] sur les mêmes bases que celles retenues en faveur de son époux, soit par l’allocation d’une somme de 6 000 €, et de réformer en ce sens le jugement entrepris. »</a:t>
            </a:r>
            <a:endParaRPr lang="fr-FR" sz="1600" dirty="0"/>
          </a:p>
          <a:p>
            <a:pPr algn="just"/>
            <a:r>
              <a:rPr lang="fr-FR" sz="1600" b="1" dirty="0"/>
              <a:t>CA de Limoges, 4 mai 2023, n°22/00278</a:t>
            </a:r>
          </a:p>
          <a:p>
            <a:pPr algn="just"/>
            <a:endParaRPr lang="fr-FR" sz="1600" dirty="0"/>
          </a:p>
          <a:p>
            <a:pPr algn="just"/>
            <a:r>
              <a:rPr lang="fr-FR" sz="1600" i="1" dirty="0"/>
              <a:t>« M. [I] a subi un préjudice sexuel lié à l’acte sexuel lui-même, qui repose sur la perte du plaisir lié à l’accomplissement de l’acte sexuel.</a:t>
            </a:r>
            <a:endParaRPr lang="fr-FR" sz="1600" dirty="0"/>
          </a:p>
          <a:p>
            <a:pPr algn="just"/>
            <a:r>
              <a:rPr lang="fr-FR" sz="1600" i="1" dirty="0"/>
              <a:t>Ce préjudice sera évalué à 2.500 euros. »</a:t>
            </a:r>
            <a:endParaRPr lang="fr-FR" sz="1600" dirty="0"/>
          </a:p>
          <a:p>
            <a:pPr algn="just"/>
            <a:r>
              <a:rPr lang="fr-FR" sz="1600" b="1" dirty="0"/>
              <a:t>CA de Toulouse, 7 mars 2023, n°21/03011</a:t>
            </a:r>
            <a:endParaRPr lang="fr-FR" sz="1600" dirty="0"/>
          </a:p>
          <a:p>
            <a:endParaRPr lang="fr-FR" dirty="0"/>
          </a:p>
        </p:txBody>
      </p:sp>
    </p:spTree>
    <p:extLst>
      <p:ext uri="{BB962C8B-B14F-4D97-AF65-F5344CB8AC3E}">
        <p14:creationId xmlns:p14="http://schemas.microsoft.com/office/powerpoint/2010/main" val="15123496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858D8A-0F0F-9DC9-16A8-FDE302E8A182}"/>
              </a:ext>
            </a:extLst>
          </p:cNvPr>
          <p:cNvSpPr>
            <a:spLocks noGrp="1"/>
          </p:cNvSpPr>
          <p:nvPr>
            <p:ph type="title"/>
          </p:nvPr>
        </p:nvSpPr>
        <p:spPr/>
        <p:txBody>
          <a:bodyPr/>
          <a:lstStyle/>
          <a:p>
            <a:pPr algn="just"/>
            <a:r>
              <a:rPr lang="fr-FR" dirty="0"/>
              <a:t>Préjudice sexuel des victimes indirectes : définition </a:t>
            </a:r>
          </a:p>
        </p:txBody>
      </p:sp>
      <p:sp>
        <p:nvSpPr>
          <p:cNvPr id="3" name="Espace réservé du contenu 2">
            <a:extLst>
              <a:ext uri="{FF2B5EF4-FFF2-40B4-BE49-F238E27FC236}">
                <a16:creationId xmlns:a16="http://schemas.microsoft.com/office/drawing/2014/main" id="{E28DEF18-8035-8C6B-E8BE-D4E26C9EB7A0}"/>
              </a:ext>
            </a:extLst>
          </p:cNvPr>
          <p:cNvSpPr>
            <a:spLocks noGrp="1"/>
          </p:cNvSpPr>
          <p:nvPr>
            <p:ph idx="1"/>
          </p:nvPr>
        </p:nvSpPr>
        <p:spPr/>
        <p:txBody>
          <a:bodyPr/>
          <a:lstStyle/>
          <a:p>
            <a:pPr marL="609600" lvl="1" indent="-342900" algn="just">
              <a:buFont typeface="Arial" panose="020B0604020202020204" pitchFamily="34" charset="0"/>
              <a:buChar char="•"/>
            </a:pPr>
            <a:r>
              <a:rPr lang="fr-FR" sz="2000" dirty="0"/>
              <a:t>Le préjudice sexuel ne saurait se confondre avec la simple empathie pour le conjoint blessé ou plus généralement avec un préjudice moral lié à ses séquelles. </a:t>
            </a:r>
          </a:p>
          <a:p>
            <a:pPr marL="609600" lvl="1" indent="-342900" algn="just">
              <a:buFont typeface="Arial" panose="020B0604020202020204" pitchFamily="34" charset="0"/>
              <a:buChar char="•"/>
            </a:pPr>
            <a:endParaRPr lang="fr-FR" sz="2000" dirty="0"/>
          </a:p>
          <a:p>
            <a:pPr marL="609600" lvl="1" indent="-342900" algn="just">
              <a:buFont typeface="Arial" panose="020B0604020202020204" pitchFamily="34" charset="0"/>
              <a:buChar char="•"/>
            </a:pPr>
            <a:r>
              <a:rPr lang="fr-FR" sz="2000" dirty="0"/>
              <a:t>Ce préjudice porte sur la capacité et la qualité de la vie sexuelle du couple telle qu’elle existait avant le dommage. </a:t>
            </a:r>
          </a:p>
          <a:p>
            <a:pPr lvl="1" algn="just"/>
            <a:endParaRPr lang="fr-FR" sz="2000" dirty="0"/>
          </a:p>
          <a:p>
            <a:pPr marL="609600" lvl="1" indent="-342900" algn="just">
              <a:buFont typeface="Arial" panose="020B0604020202020204" pitchFamily="34" charset="0"/>
              <a:buChar char="•"/>
            </a:pPr>
            <a:r>
              <a:rPr lang="fr-FR" sz="2000" dirty="0"/>
              <a:t>Dès lors que les séquelles de la victime directe affectent la fréquence et la spontanéité des rapports sexuels du couple, la libido, la capacité d’excitation ou encore la liberté d’initiative sexuelle, ces altérations produisent chez le conjoint des conséquences propres qui peuvent être de trois natures différentes. </a:t>
            </a:r>
          </a:p>
          <a:p>
            <a:endParaRPr lang="fr-FR" dirty="0"/>
          </a:p>
        </p:txBody>
      </p:sp>
    </p:spTree>
    <p:extLst>
      <p:ext uri="{BB962C8B-B14F-4D97-AF65-F5344CB8AC3E}">
        <p14:creationId xmlns:p14="http://schemas.microsoft.com/office/powerpoint/2010/main" val="4270055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CA43EE9-22AC-0715-3F7B-8330AD970CEA}"/>
              </a:ext>
            </a:extLst>
          </p:cNvPr>
          <p:cNvSpPr>
            <a:spLocks noGrp="1"/>
          </p:cNvSpPr>
          <p:nvPr>
            <p:ph type="title"/>
          </p:nvPr>
        </p:nvSpPr>
        <p:spPr/>
        <p:txBody>
          <a:bodyPr/>
          <a:lstStyle/>
          <a:p>
            <a:r>
              <a:rPr lang="fr-FR" dirty="0"/>
              <a:t>Le préjudice sexuel</a:t>
            </a:r>
          </a:p>
        </p:txBody>
      </p:sp>
      <p:sp>
        <p:nvSpPr>
          <p:cNvPr id="3" name="Espace réservé du contenu 2">
            <a:extLst>
              <a:ext uri="{FF2B5EF4-FFF2-40B4-BE49-F238E27FC236}">
                <a16:creationId xmlns:a16="http://schemas.microsoft.com/office/drawing/2014/main" id="{11EC992E-B03E-3BC0-EEA0-ADC911997ED9}"/>
              </a:ext>
            </a:extLst>
          </p:cNvPr>
          <p:cNvSpPr>
            <a:spLocks noGrp="1"/>
          </p:cNvSpPr>
          <p:nvPr>
            <p:ph idx="1"/>
          </p:nvPr>
        </p:nvSpPr>
        <p:spPr>
          <a:xfrm>
            <a:off x="646611" y="1284347"/>
            <a:ext cx="6479732" cy="3978275"/>
          </a:xfrm>
        </p:spPr>
        <p:txBody>
          <a:bodyPr/>
          <a:lstStyle/>
          <a:p>
            <a:pPr algn="just"/>
            <a:r>
              <a:rPr lang="fr-FR" dirty="0"/>
              <a:t>Ce poste concerne la réparation </a:t>
            </a:r>
            <a:r>
              <a:rPr lang="fr-FR" b="1" dirty="0"/>
              <a:t>des préjudices</a:t>
            </a:r>
            <a:r>
              <a:rPr lang="fr-FR" dirty="0"/>
              <a:t> touchant à la sphère sexuelle. Il convient de distinguer trois types de préjudice de nature sexuelle :</a:t>
            </a:r>
          </a:p>
          <a:p>
            <a:pPr marL="285750" indent="-285750" algn="just">
              <a:buFont typeface="Arial" panose="020B0604020202020204" pitchFamily="34" charset="0"/>
              <a:buChar char="•"/>
            </a:pPr>
            <a:r>
              <a:rPr lang="fr-FR" dirty="0"/>
              <a:t>le préjudice morphologique qui est lié à l’atteinte aux organes sexuels primaires et secondaires résultant du dommage subi ;</a:t>
            </a:r>
          </a:p>
          <a:p>
            <a:pPr marL="285750" indent="-285750" algn="just">
              <a:buFont typeface="Arial" panose="020B0604020202020204" pitchFamily="34" charset="0"/>
              <a:buChar char="•"/>
            </a:pPr>
            <a:r>
              <a:rPr lang="fr-FR" dirty="0"/>
              <a:t>le préjudice lié à l’acte sexuel lui-même qui repose sur la perte du plaisir lié à l’accomplissement de l’acte sexuel (perte de l’envie ou de la libido, perte de la capacité physique de réaliser l’acte, perte de la capacité à accéder au plaisir) ;</a:t>
            </a:r>
          </a:p>
          <a:p>
            <a:pPr marL="285750" indent="-285750" algn="just">
              <a:buFont typeface="Arial" panose="020B0604020202020204" pitchFamily="34" charset="0"/>
              <a:buChar char="•"/>
            </a:pPr>
            <a:r>
              <a:rPr lang="fr-FR" dirty="0"/>
              <a:t>le préjudice lié à une impossibilité ou une difficulté à procréer (ce préjudice pouvant notamment, chez la femme, se traduire sous diverses formes comme le préjudice obstétrical, etc.).</a:t>
            </a:r>
          </a:p>
          <a:p>
            <a:pPr algn="just"/>
            <a:r>
              <a:rPr lang="fr-FR" b="1" dirty="0"/>
              <a:t>Là encore</a:t>
            </a:r>
            <a:r>
              <a:rPr lang="fr-FR" dirty="0"/>
              <a:t>, ce préjudice doit être apprécié </a:t>
            </a:r>
            <a:r>
              <a:rPr lang="fr-FR" b="1" dirty="0"/>
              <a:t>in </a:t>
            </a:r>
            <a:r>
              <a:rPr lang="fr-FR" b="1" dirty="0" err="1"/>
              <a:t>concreto</a:t>
            </a:r>
            <a:r>
              <a:rPr lang="fr-FR" dirty="0"/>
              <a:t> en prenant en considération </a:t>
            </a:r>
            <a:r>
              <a:rPr lang="fr-FR" b="1" dirty="0"/>
              <a:t>les</a:t>
            </a:r>
            <a:r>
              <a:rPr lang="fr-FR" dirty="0"/>
              <a:t> paramètres personnels de chaque victime.</a:t>
            </a:r>
          </a:p>
          <a:p>
            <a:endParaRPr lang="fr-FR" dirty="0"/>
          </a:p>
        </p:txBody>
      </p:sp>
      <p:sp>
        <p:nvSpPr>
          <p:cNvPr id="4" name="Légende : encadrée à une bordure 3">
            <a:extLst>
              <a:ext uri="{FF2B5EF4-FFF2-40B4-BE49-F238E27FC236}">
                <a16:creationId xmlns:a16="http://schemas.microsoft.com/office/drawing/2014/main" id="{9000556B-86C1-2B8E-1A12-6158C5345ADE}"/>
              </a:ext>
            </a:extLst>
          </p:cNvPr>
          <p:cNvSpPr/>
          <p:nvPr/>
        </p:nvSpPr>
        <p:spPr>
          <a:xfrm>
            <a:off x="7569724" y="923419"/>
            <a:ext cx="3370419" cy="508570"/>
          </a:xfrm>
          <a:prstGeom prst="borderCallout1">
            <a:avLst>
              <a:gd name="adj1" fmla="val 49578"/>
              <a:gd name="adj2" fmla="val 368"/>
              <a:gd name="adj3" fmla="val 123410"/>
              <a:gd name="adj4" fmla="val -13089"/>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3 préjudices dans un poste ?</a:t>
            </a:r>
          </a:p>
        </p:txBody>
      </p:sp>
      <p:sp>
        <p:nvSpPr>
          <p:cNvPr id="5" name="Légende : encadrée à une bordure 4">
            <a:extLst>
              <a:ext uri="{FF2B5EF4-FFF2-40B4-BE49-F238E27FC236}">
                <a16:creationId xmlns:a16="http://schemas.microsoft.com/office/drawing/2014/main" id="{BDAAF81F-DDCE-FB06-D354-BF353CC89D89}"/>
              </a:ext>
            </a:extLst>
          </p:cNvPr>
          <p:cNvSpPr/>
          <p:nvPr/>
        </p:nvSpPr>
        <p:spPr>
          <a:xfrm>
            <a:off x="7569724" y="4168615"/>
            <a:ext cx="3370419" cy="1161975"/>
          </a:xfrm>
          <a:prstGeom prst="borderCallout1">
            <a:avLst>
              <a:gd name="adj1" fmla="val 49578"/>
              <a:gd name="adj2" fmla="val -254"/>
              <a:gd name="adj3" fmla="val 31669"/>
              <a:gd name="adj4" fmla="val -16505"/>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Pardon ?… et les hommes ? Et quelle distinction avec le DFP et le préjudice d’établissement ?</a:t>
            </a:r>
          </a:p>
        </p:txBody>
      </p:sp>
      <p:sp>
        <p:nvSpPr>
          <p:cNvPr id="6" name="Légende : encadrée à une bordure 5">
            <a:extLst>
              <a:ext uri="{FF2B5EF4-FFF2-40B4-BE49-F238E27FC236}">
                <a16:creationId xmlns:a16="http://schemas.microsoft.com/office/drawing/2014/main" id="{D1A53899-C233-5506-058D-2ACDE2EC4633}"/>
              </a:ext>
            </a:extLst>
          </p:cNvPr>
          <p:cNvSpPr/>
          <p:nvPr/>
        </p:nvSpPr>
        <p:spPr>
          <a:xfrm>
            <a:off x="7569724" y="5524211"/>
            <a:ext cx="3370419" cy="410370"/>
          </a:xfrm>
          <a:prstGeom prst="borderCallout1">
            <a:avLst>
              <a:gd name="adj1" fmla="val 49578"/>
              <a:gd name="adj2" fmla="val 57"/>
              <a:gd name="adj3" fmla="val -79770"/>
              <a:gd name="adj4" fmla="val -18388"/>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Certes…</a:t>
            </a:r>
          </a:p>
        </p:txBody>
      </p:sp>
      <p:sp>
        <p:nvSpPr>
          <p:cNvPr id="7" name="Légende : encadrée à une bordure 6">
            <a:extLst>
              <a:ext uri="{FF2B5EF4-FFF2-40B4-BE49-F238E27FC236}">
                <a16:creationId xmlns:a16="http://schemas.microsoft.com/office/drawing/2014/main" id="{C4739D83-6C93-9D43-B6ED-43865ECEC8CF}"/>
              </a:ext>
            </a:extLst>
          </p:cNvPr>
          <p:cNvSpPr/>
          <p:nvPr/>
        </p:nvSpPr>
        <p:spPr>
          <a:xfrm>
            <a:off x="7569724" y="1625609"/>
            <a:ext cx="3370419" cy="508569"/>
          </a:xfrm>
          <a:prstGeom prst="borderCallout1">
            <a:avLst>
              <a:gd name="adj1" fmla="val 52570"/>
              <a:gd name="adj2" fmla="val -720"/>
              <a:gd name="adj3" fmla="val 125753"/>
              <a:gd name="adj4" fmla="val -13151"/>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Distinction DFP ?…</a:t>
            </a:r>
          </a:p>
        </p:txBody>
      </p:sp>
      <p:sp>
        <p:nvSpPr>
          <p:cNvPr id="8" name="Légende : encadrée à une bordure 7">
            <a:extLst>
              <a:ext uri="{FF2B5EF4-FFF2-40B4-BE49-F238E27FC236}">
                <a16:creationId xmlns:a16="http://schemas.microsoft.com/office/drawing/2014/main" id="{F6F28EBB-9477-9451-DFB4-FEC34C81E962}"/>
              </a:ext>
            </a:extLst>
          </p:cNvPr>
          <p:cNvSpPr/>
          <p:nvPr/>
        </p:nvSpPr>
        <p:spPr>
          <a:xfrm>
            <a:off x="7569724" y="2327798"/>
            <a:ext cx="3370419" cy="1647197"/>
          </a:xfrm>
          <a:prstGeom prst="borderCallout1">
            <a:avLst>
              <a:gd name="adj1" fmla="val 50793"/>
              <a:gd name="adj2" fmla="val -214"/>
              <a:gd name="adj3" fmla="val 51621"/>
              <a:gd name="adj4" fmla="val -13706"/>
            </a:avLst>
          </a:prstGeom>
          <a:noFill/>
          <a:ln w="12700">
            <a:solidFill>
              <a:schemeClr val="accent2"/>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solidFill>
                  <a:schemeClr val="accent2"/>
                </a:solidFill>
              </a:rPr>
              <a:t>Peu de place pour les troubles psy, pour la gêne positionnelle… Quid de l’aspect relationnel ? Et du conjoint/partenaire de la victime directe ?</a:t>
            </a:r>
          </a:p>
        </p:txBody>
      </p:sp>
    </p:spTree>
    <p:extLst>
      <p:ext uri="{BB962C8B-B14F-4D97-AF65-F5344CB8AC3E}">
        <p14:creationId xmlns:p14="http://schemas.microsoft.com/office/powerpoint/2010/main" val="561561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8FB240-36F3-42FA-348C-BD14EB5067C9}"/>
              </a:ext>
            </a:extLst>
          </p:cNvPr>
          <p:cNvSpPr>
            <a:spLocks noGrp="1"/>
          </p:cNvSpPr>
          <p:nvPr>
            <p:ph type="title"/>
          </p:nvPr>
        </p:nvSpPr>
        <p:spPr>
          <a:xfrm>
            <a:off x="838200" y="365126"/>
            <a:ext cx="9321800" cy="919221"/>
          </a:xfrm>
        </p:spPr>
        <p:txBody>
          <a:bodyPr/>
          <a:lstStyle/>
          <a:p>
            <a:r>
              <a:rPr lang="fr-FR" dirty="0"/>
              <a:t>Préjudice sexuel des victimes indirectes : </a:t>
            </a:r>
            <a:br>
              <a:rPr lang="fr-FR" dirty="0"/>
            </a:br>
            <a:r>
              <a:rPr lang="fr-FR" dirty="0"/>
              <a:t>Les composantes </a:t>
            </a:r>
          </a:p>
        </p:txBody>
      </p:sp>
      <p:sp>
        <p:nvSpPr>
          <p:cNvPr id="3" name="Espace réservé du contenu 2">
            <a:extLst>
              <a:ext uri="{FF2B5EF4-FFF2-40B4-BE49-F238E27FC236}">
                <a16:creationId xmlns:a16="http://schemas.microsoft.com/office/drawing/2014/main" id="{A97E16B2-83B9-64D5-7179-1922ED3E2997}"/>
              </a:ext>
            </a:extLst>
          </p:cNvPr>
          <p:cNvSpPr>
            <a:spLocks noGrp="1"/>
          </p:cNvSpPr>
          <p:nvPr>
            <p:ph idx="1"/>
          </p:nvPr>
        </p:nvSpPr>
        <p:spPr>
          <a:xfrm>
            <a:off x="838200" y="1825625"/>
            <a:ext cx="10515600" cy="3978275"/>
          </a:xfrm>
        </p:spPr>
        <p:txBody>
          <a:bodyPr/>
          <a:lstStyle/>
          <a:p>
            <a:r>
              <a:rPr lang="fr-FR" b="1" dirty="0"/>
              <a:t>Les contraintes physiques : </a:t>
            </a:r>
          </a:p>
          <a:p>
            <a:pPr lvl="1"/>
            <a:r>
              <a:rPr lang="fr-FR" dirty="0"/>
              <a:t>La victime indirecte subit les conséquences concrètes des séquelles de son partenaire. </a:t>
            </a:r>
          </a:p>
          <a:p>
            <a:pPr lvl="1"/>
            <a:r>
              <a:rPr lang="fr-FR" dirty="0"/>
              <a:t>La raréfaction ou l’impossibilité d’avoir des rapports sexuels engendre : limitation ou une privation d’intimité corporelle, frustration physique durable, voire une abstinence non désirée. </a:t>
            </a:r>
          </a:p>
          <a:p>
            <a:pPr lvl="1"/>
            <a:r>
              <a:rPr lang="fr-FR" dirty="0"/>
              <a:t>Le conjoint doit composer avec de nouvelles contraintes dans le cadre des activités sexuelles du couple : gestes prudents, nécessité d’adapter les positions ou de renoncer à certaines pratiques… </a:t>
            </a:r>
          </a:p>
          <a:p>
            <a:pPr marL="263525" lvl="1" indent="0">
              <a:buNone/>
            </a:pPr>
            <a:r>
              <a:rPr lang="fr-FR" dirty="0"/>
              <a:t>→ Altération de la spontanéité et du plaisir charnel ressenti tant par la victime directe que par son partenaire. </a:t>
            </a:r>
          </a:p>
          <a:p>
            <a:endParaRPr lang="fr-FR" dirty="0"/>
          </a:p>
          <a:p>
            <a:r>
              <a:rPr lang="fr-FR" dirty="0"/>
              <a:t>Dans les cas les plus graves, l’acte sexuel devient médicalisé voire impossible, privant le couple, et non pas seulement la victime directe, d’une dimension essentielle de sa vie affective. </a:t>
            </a:r>
          </a:p>
          <a:p>
            <a:endParaRPr lang="fr-FR" dirty="0"/>
          </a:p>
        </p:txBody>
      </p:sp>
    </p:spTree>
    <p:extLst>
      <p:ext uri="{BB962C8B-B14F-4D97-AF65-F5344CB8AC3E}">
        <p14:creationId xmlns:p14="http://schemas.microsoft.com/office/powerpoint/2010/main" val="15607759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B66F25-3459-BD04-0227-A706208448D2}"/>
              </a:ext>
            </a:extLst>
          </p:cNvPr>
          <p:cNvSpPr>
            <a:spLocks noGrp="1"/>
          </p:cNvSpPr>
          <p:nvPr>
            <p:ph type="title"/>
          </p:nvPr>
        </p:nvSpPr>
        <p:spPr>
          <a:xfrm>
            <a:off x="838200" y="365126"/>
            <a:ext cx="9321800" cy="919221"/>
          </a:xfrm>
        </p:spPr>
        <p:txBody>
          <a:bodyPr/>
          <a:lstStyle/>
          <a:p>
            <a:r>
              <a:rPr lang="fr-FR" dirty="0"/>
              <a:t>Préjudice sexuel des victimes indirectes : </a:t>
            </a:r>
            <a:br>
              <a:rPr lang="fr-FR" dirty="0"/>
            </a:br>
            <a:r>
              <a:rPr lang="fr-FR" dirty="0"/>
              <a:t>Les composantes </a:t>
            </a:r>
          </a:p>
        </p:txBody>
      </p:sp>
      <p:sp>
        <p:nvSpPr>
          <p:cNvPr id="3" name="Espace réservé du contenu 2">
            <a:extLst>
              <a:ext uri="{FF2B5EF4-FFF2-40B4-BE49-F238E27FC236}">
                <a16:creationId xmlns:a16="http://schemas.microsoft.com/office/drawing/2014/main" id="{15093369-DD65-AAFD-BF05-239A85CCC34B}"/>
              </a:ext>
            </a:extLst>
          </p:cNvPr>
          <p:cNvSpPr>
            <a:spLocks noGrp="1"/>
          </p:cNvSpPr>
          <p:nvPr>
            <p:ph idx="1"/>
          </p:nvPr>
        </p:nvSpPr>
        <p:spPr>
          <a:xfrm>
            <a:off x="838200" y="1825625"/>
            <a:ext cx="10515600" cy="3978275"/>
          </a:xfrm>
        </p:spPr>
        <p:txBody>
          <a:bodyPr/>
          <a:lstStyle/>
          <a:p>
            <a:r>
              <a:rPr lang="fr-FR" b="1" dirty="0"/>
              <a:t>Les contraintes psychologiques :</a:t>
            </a:r>
          </a:p>
          <a:p>
            <a:pPr lvl="1"/>
            <a:r>
              <a:rPr lang="fr-FR" dirty="0"/>
              <a:t>La privation, la limitation ainsi que la dégradation des rapports sexuels engendrent une souffrance morale autonome et propre à chaque personne les subissant. </a:t>
            </a:r>
          </a:p>
          <a:p>
            <a:pPr lvl="1"/>
            <a:r>
              <a:rPr lang="fr-FR" dirty="0"/>
              <a:t>Le partenaire de la victime directe est susceptible de ressentir une certaine frustration, un sentiment d’abandon ou de rejet, et parfois une certaine culpabilité liée au handicap ou à la gêne (douleurs…) de son conjoint lors des rapports sexuels. </a:t>
            </a:r>
          </a:p>
          <a:p>
            <a:pPr lvl="1"/>
            <a:r>
              <a:rPr lang="fr-FR" dirty="0"/>
              <a:t>A ces éléments, il s’ajoute inévitablement une atteinte à l’estime de soi, une perte du sentiment de désirabilité et parfois, dans les cas où la possibilité d’avoir des rapports sexuels n’est pas exclu pour la victime directe, une angoisse liée à la perte définitive de la vie sexuelle du couple. </a:t>
            </a:r>
          </a:p>
          <a:p>
            <a:pPr lvl="1"/>
            <a:r>
              <a:rPr lang="fr-FR" dirty="0"/>
              <a:t>Ces effets ne sont pas sans conséquences pour la victime indirecte et peuvent conduire à un repli sur soi, à une perte d’équilibre personnel voire à des troubles anxieux ou dépressifs en lien direct avec sa situation conjugale. </a:t>
            </a:r>
          </a:p>
          <a:p>
            <a:endParaRPr lang="fr-FR" dirty="0"/>
          </a:p>
        </p:txBody>
      </p:sp>
    </p:spTree>
    <p:extLst>
      <p:ext uri="{BB962C8B-B14F-4D97-AF65-F5344CB8AC3E}">
        <p14:creationId xmlns:p14="http://schemas.microsoft.com/office/powerpoint/2010/main" val="10240292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9160E9-3AA1-922F-4C48-4D36FD553719}"/>
              </a:ext>
            </a:extLst>
          </p:cNvPr>
          <p:cNvSpPr>
            <a:spLocks noGrp="1"/>
          </p:cNvSpPr>
          <p:nvPr>
            <p:ph type="title"/>
          </p:nvPr>
        </p:nvSpPr>
        <p:spPr>
          <a:xfrm>
            <a:off x="838200" y="365126"/>
            <a:ext cx="9321800" cy="919221"/>
          </a:xfrm>
        </p:spPr>
        <p:txBody>
          <a:bodyPr/>
          <a:lstStyle/>
          <a:p>
            <a:r>
              <a:rPr lang="fr-FR" dirty="0"/>
              <a:t>Préjudice sexuel des victimes indirectes : </a:t>
            </a:r>
            <a:br>
              <a:rPr lang="fr-FR" dirty="0"/>
            </a:br>
            <a:r>
              <a:rPr lang="fr-FR" dirty="0"/>
              <a:t>Les composantes </a:t>
            </a:r>
          </a:p>
        </p:txBody>
      </p:sp>
      <p:sp>
        <p:nvSpPr>
          <p:cNvPr id="3" name="Espace réservé du contenu 2">
            <a:extLst>
              <a:ext uri="{FF2B5EF4-FFF2-40B4-BE49-F238E27FC236}">
                <a16:creationId xmlns:a16="http://schemas.microsoft.com/office/drawing/2014/main" id="{0C8D0155-DC2F-4FB7-58C8-91A76BF7A9D5}"/>
              </a:ext>
            </a:extLst>
          </p:cNvPr>
          <p:cNvSpPr>
            <a:spLocks noGrp="1"/>
          </p:cNvSpPr>
          <p:nvPr>
            <p:ph idx="1"/>
          </p:nvPr>
        </p:nvSpPr>
        <p:spPr>
          <a:xfrm>
            <a:off x="838200" y="1825625"/>
            <a:ext cx="10515600" cy="3978275"/>
          </a:xfrm>
        </p:spPr>
        <p:txBody>
          <a:bodyPr/>
          <a:lstStyle/>
          <a:p>
            <a:r>
              <a:rPr lang="fr-FR" b="1" dirty="0"/>
              <a:t>Les contraintes psychologiques :</a:t>
            </a:r>
          </a:p>
          <a:p>
            <a:pPr lvl="1"/>
            <a:r>
              <a:rPr lang="fr-FR" dirty="0"/>
              <a:t>Les séquelles d’une victime directe et leurs conséquences sur sa vie sexuelle bouleversent l’équilibre du couple dans son ensemble. </a:t>
            </a:r>
          </a:p>
          <a:p>
            <a:pPr lvl="1"/>
            <a:r>
              <a:rPr lang="fr-FR" dirty="0"/>
              <a:t>Le lien conjugal se trouve fragilisé par une inévitable perte de complicité et de communication intime. </a:t>
            </a:r>
          </a:p>
          <a:p>
            <a:pPr lvl="1"/>
            <a:r>
              <a:rPr lang="fr-FR" dirty="0"/>
              <a:t>L’absence de rapports sexuels ou leur caractère mécanique voire indirectement contraint, entraine souvent une distance émotionnelle, une diminution des gestes d’affection voire une rupture de la vie de couple au sens affectif. </a:t>
            </a:r>
          </a:p>
          <a:p>
            <a:pPr lvl="1"/>
            <a:r>
              <a:rPr lang="fr-FR" dirty="0"/>
              <a:t>L’introduction du handicap ou de la médicalisation dans la sphère intime transforme profondément la dynamique conjugale puisque le conjoint devient, dans le meilleur des cas, un aidant, et dans le pire, un soignant. </a:t>
            </a:r>
          </a:p>
          <a:p>
            <a:pPr lvl="1"/>
            <a:r>
              <a:rPr lang="fr-FR" dirty="0"/>
              <a:t>Cela contribue à effacer la relation amoureuse au profit d’une relation asymétrique et usante sur le plan relationnel. </a:t>
            </a:r>
          </a:p>
          <a:p>
            <a:endParaRPr lang="fr-FR" dirty="0"/>
          </a:p>
        </p:txBody>
      </p:sp>
    </p:spTree>
    <p:extLst>
      <p:ext uri="{BB962C8B-B14F-4D97-AF65-F5344CB8AC3E}">
        <p14:creationId xmlns:p14="http://schemas.microsoft.com/office/powerpoint/2010/main" val="11828859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163B65-97EC-9231-9FE6-F169F60F1869}"/>
              </a:ext>
            </a:extLst>
          </p:cNvPr>
          <p:cNvSpPr>
            <a:spLocks noGrp="1"/>
          </p:cNvSpPr>
          <p:nvPr>
            <p:ph type="title"/>
          </p:nvPr>
        </p:nvSpPr>
        <p:spPr>
          <a:xfrm>
            <a:off x="838200" y="365126"/>
            <a:ext cx="9321800" cy="919221"/>
          </a:xfrm>
        </p:spPr>
        <p:txBody>
          <a:bodyPr/>
          <a:lstStyle/>
          <a:p>
            <a:r>
              <a:rPr lang="fr-FR" dirty="0"/>
              <a:t>Préjudice sexuel des victimes indirectes : </a:t>
            </a:r>
            <a:br>
              <a:rPr lang="fr-FR" dirty="0"/>
            </a:br>
            <a:r>
              <a:rPr lang="fr-FR" dirty="0"/>
              <a:t>Les composantes </a:t>
            </a:r>
          </a:p>
        </p:txBody>
      </p:sp>
      <p:sp>
        <p:nvSpPr>
          <p:cNvPr id="3" name="Espace réservé du contenu 2">
            <a:extLst>
              <a:ext uri="{FF2B5EF4-FFF2-40B4-BE49-F238E27FC236}">
                <a16:creationId xmlns:a16="http://schemas.microsoft.com/office/drawing/2014/main" id="{C97DD2DD-05ED-A99D-5DCC-8773A6626F50}"/>
              </a:ext>
            </a:extLst>
          </p:cNvPr>
          <p:cNvSpPr>
            <a:spLocks noGrp="1"/>
          </p:cNvSpPr>
          <p:nvPr>
            <p:ph idx="1"/>
          </p:nvPr>
        </p:nvSpPr>
        <p:spPr>
          <a:xfrm>
            <a:off x="838200" y="1825625"/>
            <a:ext cx="10515600" cy="3978275"/>
          </a:xfrm>
        </p:spPr>
        <p:txBody>
          <a:bodyPr/>
          <a:lstStyle/>
          <a:p>
            <a:r>
              <a:rPr lang="fr-FR" b="1" dirty="0"/>
              <a:t>Les contraintes relationnelles : </a:t>
            </a:r>
          </a:p>
          <a:p>
            <a:pPr lvl="1"/>
            <a:r>
              <a:rPr lang="fr-FR" dirty="0"/>
              <a:t>Les séquelles d’une victime directe et leurs conséquences sur sa vie sexuelle bouleversent l’équilibre du couple dans son ensemble. </a:t>
            </a:r>
          </a:p>
          <a:p>
            <a:pPr lvl="1"/>
            <a:r>
              <a:rPr lang="fr-FR" dirty="0"/>
              <a:t>Le lien conjugal se trouve fragilisé par une inévitable perte de complicité et de communication intime. </a:t>
            </a:r>
          </a:p>
          <a:p>
            <a:pPr lvl="1"/>
            <a:r>
              <a:rPr lang="fr-FR" dirty="0"/>
              <a:t>L’absence de rapports sexuels ou leur caractère mécanique voire indirectement contraint, entraine souvent une distance émotionnelle, une diminution des gestes d’affection voire une rupture de la vie de couple au sens affectif. </a:t>
            </a:r>
          </a:p>
          <a:p>
            <a:pPr lvl="1"/>
            <a:r>
              <a:rPr lang="fr-FR" dirty="0"/>
              <a:t>L’introduction du handicap ou de la médicalisation dans la sphère intime transforme profondément la dynamique conjugale puisque le conjoint devient, dans le meilleur des cas, un aidant, et dans le pire, un soignant. </a:t>
            </a:r>
          </a:p>
          <a:p>
            <a:pPr lvl="1"/>
            <a:r>
              <a:rPr lang="fr-FR" dirty="0"/>
              <a:t>Cela contribue à effacer la relation amoureuse au profit d’une relation asymétrique et usante sur le plan relationnel. </a:t>
            </a:r>
          </a:p>
          <a:p>
            <a:endParaRPr lang="fr-FR" dirty="0"/>
          </a:p>
        </p:txBody>
      </p:sp>
    </p:spTree>
    <p:extLst>
      <p:ext uri="{BB962C8B-B14F-4D97-AF65-F5344CB8AC3E}">
        <p14:creationId xmlns:p14="http://schemas.microsoft.com/office/powerpoint/2010/main" val="4497477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E44B95-84A3-03E0-CECE-1DA1EB4389C1}"/>
              </a:ext>
            </a:extLst>
          </p:cNvPr>
          <p:cNvSpPr>
            <a:spLocks noGrp="1"/>
          </p:cNvSpPr>
          <p:nvPr>
            <p:ph type="title"/>
          </p:nvPr>
        </p:nvSpPr>
        <p:spPr>
          <a:xfrm>
            <a:off x="838200" y="365126"/>
            <a:ext cx="9321800" cy="919221"/>
          </a:xfrm>
        </p:spPr>
        <p:txBody>
          <a:bodyPr/>
          <a:lstStyle/>
          <a:p>
            <a:r>
              <a:rPr lang="fr-FR" dirty="0"/>
              <a:t>Préjudice sexuel des victimes indirectes : </a:t>
            </a:r>
            <a:br>
              <a:rPr lang="fr-FR" dirty="0"/>
            </a:br>
            <a:r>
              <a:rPr lang="fr-FR" dirty="0"/>
              <a:t>Sur le coût à envisager </a:t>
            </a:r>
          </a:p>
        </p:txBody>
      </p:sp>
      <p:sp>
        <p:nvSpPr>
          <p:cNvPr id="3" name="Espace réservé du contenu 2">
            <a:extLst>
              <a:ext uri="{FF2B5EF4-FFF2-40B4-BE49-F238E27FC236}">
                <a16:creationId xmlns:a16="http://schemas.microsoft.com/office/drawing/2014/main" id="{2490C01F-5369-26EA-C3D8-95ABDCF9FEF5}"/>
              </a:ext>
            </a:extLst>
          </p:cNvPr>
          <p:cNvSpPr>
            <a:spLocks noGrp="1"/>
          </p:cNvSpPr>
          <p:nvPr>
            <p:ph idx="1"/>
          </p:nvPr>
        </p:nvSpPr>
        <p:spPr>
          <a:xfrm>
            <a:off x="838200" y="1825625"/>
            <a:ext cx="10515600" cy="3978275"/>
          </a:xfrm>
        </p:spPr>
        <p:txBody>
          <a:bodyPr/>
          <a:lstStyle/>
          <a:p>
            <a:r>
              <a:rPr lang="fr-FR" dirty="0"/>
              <a:t>Ici également, il convient de déterminer le coût d’un rapport sexuel afin d’offrir à la victime indirecte l’indemnisation la plus proche possible du préjudice subi, à partir des trois contraintes précités (physique, psychologique, relationnel). </a:t>
            </a:r>
          </a:p>
          <a:p>
            <a:endParaRPr lang="fr-FR" dirty="0"/>
          </a:p>
          <a:p>
            <a:endParaRPr lang="fr-FR" dirty="0"/>
          </a:p>
        </p:txBody>
      </p:sp>
      <p:graphicFrame>
        <p:nvGraphicFramePr>
          <p:cNvPr id="4" name="Tableau 3">
            <a:extLst>
              <a:ext uri="{FF2B5EF4-FFF2-40B4-BE49-F238E27FC236}">
                <a16:creationId xmlns:a16="http://schemas.microsoft.com/office/drawing/2014/main" id="{FD2FC57C-51C8-C40D-8543-BAC11CABA9A6}"/>
              </a:ext>
            </a:extLst>
          </p:cNvPr>
          <p:cNvGraphicFramePr>
            <a:graphicFrameLocks noGrp="1"/>
          </p:cNvGraphicFramePr>
          <p:nvPr>
            <p:extLst>
              <p:ext uri="{D42A27DB-BD31-4B8C-83A1-F6EECF244321}">
                <p14:modId xmlns:p14="http://schemas.microsoft.com/office/powerpoint/2010/main" val="608595594"/>
              </p:ext>
            </p:extLst>
          </p:nvPr>
        </p:nvGraphicFramePr>
        <p:xfrm>
          <a:off x="838200" y="2871792"/>
          <a:ext cx="3941190" cy="1955376"/>
        </p:xfrm>
        <a:graphic>
          <a:graphicData uri="http://schemas.openxmlformats.org/drawingml/2006/table">
            <a:tbl>
              <a:tblPr firstRow="1" bandRow="1">
                <a:tableStyleId>{5C22544A-7EE6-4342-B048-85BDC9FD1C3A}</a:tableStyleId>
              </a:tblPr>
              <a:tblGrid>
                <a:gridCol w="983622">
                  <a:extLst>
                    <a:ext uri="{9D8B030D-6E8A-4147-A177-3AD203B41FA5}">
                      <a16:colId xmlns:a16="http://schemas.microsoft.com/office/drawing/2014/main" val="2546662393"/>
                    </a:ext>
                  </a:extLst>
                </a:gridCol>
                <a:gridCol w="2957568">
                  <a:extLst>
                    <a:ext uri="{9D8B030D-6E8A-4147-A177-3AD203B41FA5}">
                      <a16:colId xmlns:a16="http://schemas.microsoft.com/office/drawing/2014/main" val="3200468692"/>
                    </a:ext>
                  </a:extLst>
                </a:gridCol>
              </a:tblGrid>
              <a:tr h="498664">
                <a:tc>
                  <a:txBody>
                    <a:bodyPr/>
                    <a:lstStyle/>
                    <a:p>
                      <a:r>
                        <a:rPr lang="fr-FR" sz="1400" dirty="0"/>
                        <a:t>Pays </a:t>
                      </a:r>
                    </a:p>
                  </a:txBody>
                  <a:tcPr>
                    <a:solidFill>
                      <a:schemeClr val="bg2"/>
                    </a:solidFill>
                  </a:tcPr>
                </a:tc>
                <a:tc>
                  <a:txBody>
                    <a:bodyPr/>
                    <a:lstStyle/>
                    <a:p>
                      <a:r>
                        <a:rPr lang="fr-FR" sz="1400" dirty="0"/>
                        <a:t>Coût d’une prestation sexuelle tarifiée</a:t>
                      </a:r>
                    </a:p>
                  </a:txBody>
                  <a:tcPr>
                    <a:solidFill>
                      <a:schemeClr val="bg2"/>
                    </a:solidFill>
                  </a:tcPr>
                </a:tc>
                <a:extLst>
                  <a:ext uri="{0D108BD9-81ED-4DB2-BD59-A6C34878D82A}">
                    <a16:rowId xmlns:a16="http://schemas.microsoft.com/office/drawing/2014/main" val="4247296642"/>
                  </a:ext>
                </a:extLst>
              </a:tr>
              <a:tr h="690721">
                <a:tc>
                  <a:txBody>
                    <a:bodyPr/>
                    <a:lstStyle/>
                    <a:p>
                      <a:r>
                        <a:rPr lang="fr-FR" sz="1400" dirty="0"/>
                        <a:t>France</a:t>
                      </a:r>
                    </a:p>
                  </a:txBody>
                  <a:tcPr anchor="ct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Entre 80 et 2.000 euros</a:t>
                      </a:r>
                    </a:p>
                  </a:txBody>
                  <a:tcPr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0824112"/>
                  </a:ext>
                </a:extLst>
              </a:tr>
              <a:tr h="746495">
                <a:tc>
                  <a:txBody>
                    <a:bodyPr/>
                    <a:lstStyle/>
                    <a:p>
                      <a:r>
                        <a:rPr lang="fr-FR" sz="1400" dirty="0"/>
                        <a:t>Suisse</a:t>
                      </a:r>
                    </a:p>
                  </a:txBody>
                  <a:tcPr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r>
                        <a:rPr lang="fr-FR" sz="1400" dirty="0"/>
                        <a:t>Entre 100 et 500 francs suisse </a:t>
                      </a:r>
                      <a:br>
                        <a:rPr lang="fr-FR" sz="1400" dirty="0"/>
                      </a:br>
                      <a:r>
                        <a:rPr lang="fr-FR" sz="1400" dirty="0"/>
                        <a:t>(107 et 537 euros)</a:t>
                      </a:r>
                    </a:p>
                  </a:txBody>
                  <a:tcPr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14720844"/>
                  </a:ext>
                </a:extLst>
              </a:tr>
            </a:tbl>
          </a:graphicData>
        </a:graphic>
      </p:graphicFrame>
      <p:graphicFrame>
        <p:nvGraphicFramePr>
          <p:cNvPr id="6" name="Tableau 5">
            <a:extLst>
              <a:ext uri="{FF2B5EF4-FFF2-40B4-BE49-F238E27FC236}">
                <a16:creationId xmlns:a16="http://schemas.microsoft.com/office/drawing/2014/main" id="{B58546E2-382D-1E1C-AD1B-A2021B814D9C}"/>
              </a:ext>
            </a:extLst>
          </p:cNvPr>
          <p:cNvGraphicFramePr>
            <a:graphicFrameLocks noGrp="1"/>
          </p:cNvGraphicFramePr>
          <p:nvPr>
            <p:extLst>
              <p:ext uri="{D42A27DB-BD31-4B8C-83A1-F6EECF244321}">
                <p14:modId xmlns:p14="http://schemas.microsoft.com/office/powerpoint/2010/main" val="2312015732"/>
              </p:ext>
            </p:extLst>
          </p:nvPr>
        </p:nvGraphicFramePr>
        <p:xfrm>
          <a:off x="5087112" y="2871792"/>
          <a:ext cx="6190488" cy="3208498"/>
        </p:xfrm>
        <a:graphic>
          <a:graphicData uri="http://schemas.openxmlformats.org/drawingml/2006/table">
            <a:tbl>
              <a:tblPr firstRow="1" bandRow="1">
                <a:tableStyleId>{5C22544A-7EE6-4342-B048-85BDC9FD1C3A}</a:tableStyleId>
              </a:tblPr>
              <a:tblGrid>
                <a:gridCol w="1096872">
                  <a:extLst>
                    <a:ext uri="{9D8B030D-6E8A-4147-A177-3AD203B41FA5}">
                      <a16:colId xmlns:a16="http://schemas.microsoft.com/office/drawing/2014/main" val="1769073652"/>
                    </a:ext>
                  </a:extLst>
                </a:gridCol>
                <a:gridCol w="5093616">
                  <a:extLst>
                    <a:ext uri="{9D8B030D-6E8A-4147-A177-3AD203B41FA5}">
                      <a16:colId xmlns:a16="http://schemas.microsoft.com/office/drawing/2014/main" val="2671275756"/>
                    </a:ext>
                  </a:extLst>
                </a:gridCol>
              </a:tblGrid>
              <a:tr h="354339">
                <a:tc>
                  <a:txBody>
                    <a:bodyPr/>
                    <a:lstStyle/>
                    <a:p>
                      <a:r>
                        <a:rPr lang="fr-FR" sz="1400" dirty="0"/>
                        <a:t>Pays</a:t>
                      </a:r>
                    </a:p>
                  </a:txBody>
                  <a:tcPr anchor="ctr">
                    <a:solidFill>
                      <a:schemeClr val="bg2"/>
                    </a:solidFill>
                  </a:tcPr>
                </a:tc>
                <a:tc>
                  <a:txBody>
                    <a:bodyPr/>
                    <a:lstStyle/>
                    <a:p>
                      <a:r>
                        <a:rPr lang="fr-FR" sz="1400" dirty="0"/>
                        <a:t>Coût d’intervention d’un assistant sexuel</a:t>
                      </a:r>
                    </a:p>
                  </a:txBody>
                  <a:tcPr anchor="ctr">
                    <a:solidFill>
                      <a:schemeClr val="bg2"/>
                    </a:solidFill>
                  </a:tcPr>
                </a:tc>
                <a:extLst>
                  <a:ext uri="{0D108BD9-81ED-4DB2-BD59-A6C34878D82A}">
                    <a16:rowId xmlns:a16="http://schemas.microsoft.com/office/drawing/2014/main" val="1811650749"/>
                  </a:ext>
                </a:extLst>
              </a:tr>
              <a:tr h="660622">
                <a:tc>
                  <a:txBody>
                    <a:bodyPr/>
                    <a:lstStyle/>
                    <a:p>
                      <a:r>
                        <a:rPr lang="fr-FR" sz="1400" dirty="0"/>
                        <a:t>France</a:t>
                      </a:r>
                    </a:p>
                  </a:txBody>
                  <a:tcPr>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150 € outre des frais de déplacement et éventuels frais d’hôtel (Association APPAS)</a:t>
                      </a:r>
                    </a:p>
                  </a:txBody>
                  <a:tcP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960624745"/>
                  </a:ext>
                </a:extLst>
              </a:tr>
              <a:tr h="872293">
                <a:tc>
                  <a:txBody>
                    <a:bodyPr/>
                    <a:lstStyle/>
                    <a:p>
                      <a:r>
                        <a:rPr lang="fr-FR" sz="1400" dirty="0"/>
                        <a:t>Belgique </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1</a:t>
                      </a:r>
                      <a:r>
                        <a:rPr lang="fr-FR" sz="1400" baseline="30000" dirty="0"/>
                        <a:t>ère</a:t>
                      </a:r>
                      <a:r>
                        <a:rPr lang="fr-FR" sz="1400" dirty="0"/>
                        <a:t> consultation de 60 € + 35 € de forfait de frais de déplacement + 100 € par prestation d’une heure (150 € pour les couples) outre les frais de déplacement (Association Aditi WB)</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396806919"/>
                  </a:ext>
                </a:extLst>
              </a:tr>
              <a:tr h="660622">
                <a:tc>
                  <a:txBody>
                    <a:bodyPr/>
                    <a:lstStyle/>
                    <a:p>
                      <a:r>
                        <a:rPr lang="fr-FR" sz="1400" dirty="0"/>
                        <a:t>Suisse </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r>
                        <a:rPr lang="fr-FR" sz="1400" dirty="0"/>
                        <a:t>150 francs pour une heure de prestation outre une première rencontre facturée 50 francs + frais de déplacement.  </a:t>
                      </a:r>
                    </a:p>
                  </a:txBody>
                  <a:tcP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008242902"/>
                  </a:ext>
                </a:extLst>
              </a:tr>
              <a:tr h="660622">
                <a:tc>
                  <a:txBody>
                    <a:bodyPr/>
                    <a:lstStyle/>
                    <a:p>
                      <a:r>
                        <a:rPr lang="fr-FR" sz="1400" dirty="0"/>
                        <a:t>Pays-Bas</a:t>
                      </a:r>
                    </a:p>
                  </a:txBody>
                  <a:tcP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r>
                        <a:rPr lang="fr-FR" sz="1400" dirty="0"/>
                        <a:t>Entre 85 et 100 euros pour une heure de prestation. </a:t>
                      </a:r>
                    </a:p>
                  </a:txBody>
                  <a:tcP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68498250"/>
                  </a:ext>
                </a:extLst>
              </a:tr>
            </a:tbl>
          </a:graphicData>
        </a:graphic>
      </p:graphicFrame>
    </p:spTree>
    <p:extLst>
      <p:ext uri="{BB962C8B-B14F-4D97-AF65-F5344CB8AC3E}">
        <p14:creationId xmlns:p14="http://schemas.microsoft.com/office/powerpoint/2010/main" val="19754863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ED6740-7B33-4574-0627-2EED135200A7}"/>
              </a:ext>
            </a:extLst>
          </p:cNvPr>
          <p:cNvSpPr>
            <a:spLocks noGrp="1"/>
          </p:cNvSpPr>
          <p:nvPr>
            <p:ph type="title"/>
          </p:nvPr>
        </p:nvSpPr>
        <p:spPr>
          <a:xfrm>
            <a:off x="838200" y="365126"/>
            <a:ext cx="9321800" cy="919221"/>
          </a:xfrm>
        </p:spPr>
        <p:txBody>
          <a:bodyPr/>
          <a:lstStyle/>
          <a:p>
            <a:r>
              <a:rPr lang="fr-FR" dirty="0"/>
              <a:t>Préjudice sexuel des victimes indirectes : Sur le coût à envisager </a:t>
            </a:r>
          </a:p>
        </p:txBody>
      </p:sp>
      <p:sp>
        <p:nvSpPr>
          <p:cNvPr id="3" name="Espace réservé du contenu 2">
            <a:extLst>
              <a:ext uri="{FF2B5EF4-FFF2-40B4-BE49-F238E27FC236}">
                <a16:creationId xmlns:a16="http://schemas.microsoft.com/office/drawing/2014/main" id="{B308EB48-5F85-A2D9-0546-14D9ABF91A3C}"/>
              </a:ext>
            </a:extLst>
          </p:cNvPr>
          <p:cNvSpPr>
            <a:spLocks noGrp="1"/>
          </p:cNvSpPr>
          <p:nvPr>
            <p:ph idx="1"/>
          </p:nvPr>
        </p:nvSpPr>
        <p:spPr>
          <a:xfrm>
            <a:off x="838200" y="1825625"/>
            <a:ext cx="10515600" cy="3978275"/>
          </a:xfrm>
        </p:spPr>
        <p:txBody>
          <a:bodyPr/>
          <a:lstStyle/>
          <a:p>
            <a:r>
              <a:rPr lang="fr-FR" dirty="0"/>
              <a:t>Comme pour le préjudice sexuel de la victime directe, les fourchettes de prix précédemment cités ne peuvent refléter l’évaluation d’un préjudice extrapatrimonial qu’il convient d’individualiser selon un coût en concordance avec les composantes des atteintes sexuelles subies par la victime indirecte (contraintes physiques, psychologiques, relationnelles)  </a:t>
            </a:r>
          </a:p>
          <a:p>
            <a:r>
              <a:rPr lang="fr-FR" dirty="0"/>
              <a:t> </a:t>
            </a:r>
          </a:p>
          <a:p>
            <a:r>
              <a:rPr lang="fr-FR" dirty="0"/>
              <a:t>A ce titre, il est proposé d’évaluer chaque composante en fonction de l’intensité des séquelles, selon un coût pouvant aller jusqu’à 8 euros.</a:t>
            </a:r>
          </a:p>
          <a:p>
            <a:r>
              <a:rPr lang="fr-FR" dirty="0"/>
              <a:t> </a:t>
            </a:r>
          </a:p>
          <a:p>
            <a:r>
              <a:rPr lang="fr-FR" dirty="0"/>
              <a:t>Cela permettrait de calculer un coût de rapport sexuel basé sur les préjudices réels subis par la victime. </a:t>
            </a:r>
          </a:p>
          <a:p>
            <a:endParaRPr lang="fr-FR" dirty="0"/>
          </a:p>
        </p:txBody>
      </p:sp>
    </p:spTree>
    <p:extLst>
      <p:ext uri="{BB962C8B-B14F-4D97-AF65-F5344CB8AC3E}">
        <p14:creationId xmlns:p14="http://schemas.microsoft.com/office/powerpoint/2010/main" val="30496438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1643E9-5C99-930E-1936-DC18E1D49575}"/>
              </a:ext>
            </a:extLst>
          </p:cNvPr>
          <p:cNvSpPr>
            <a:spLocks noGrp="1"/>
          </p:cNvSpPr>
          <p:nvPr>
            <p:ph type="title"/>
          </p:nvPr>
        </p:nvSpPr>
        <p:spPr>
          <a:xfrm>
            <a:off x="838200" y="365126"/>
            <a:ext cx="9321800" cy="919221"/>
          </a:xfrm>
        </p:spPr>
        <p:txBody>
          <a:bodyPr/>
          <a:lstStyle/>
          <a:p>
            <a:r>
              <a:rPr lang="fr-FR" dirty="0"/>
              <a:t>Préjudice sexuel des victimes indirectes : Sur le coût à envisager </a:t>
            </a:r>
          </a:p>
        </p:txBody>
      </p:sp>
      <p:sp>
        <p:nvSpPr>
          <p:cNvPr id="3" name="Espace réservé du contenu 2">
            <a:extLst>
              <a:ext uri="{FF2B5EF4-FFF2-40B4-BE49-F238E27FC236}">
                <a16:creationId xmlns:a16="http://schemas.microsoft.com/office/drawing/2014/main" id="{DF56FF9D-39A9-E7AF-4F17-81D26B4DF253}"/>
              </a:ext>
            </a:extLst>
          </p:cNvPr>
          <p:cNvSpPr>
            <a:spLocks noGrp="1"/>
          </p:cNvSpPr>
          <p:nvPr>
            <p:ph idx="1"/>
          </p:nvPr>
        </p:nvSpPr>
        <p:spPr>
          <a:xfrm>
            <a:off x="838200" y="1825625"/>
            <a:ext cx="10515600" cy="3978275"/>
          </a:xfrm>
        </p:spPr>
        <p:txBody>
          <a:bodyPr/>
          <a:lstStyle/>
          <a:p>
            <a:r>
              <a:rPr lang="fr-FR" dirty="0"/>
              <a:t>Ainsi, pour chacun des aspects du préjudice sexuel précédemment cités, il convient d’évaluer l’intensité du préjudice subi par la victime à partir de la nature dudit préjudice (nulle à faible – modérée – élevée - très élevée), selon le même schéma que pour les victimes directes : </a:t>
            </a:r>
          </a:p>
        </p:txBody>
      </p:sp>
      <p:graphicFrame>
        <p:nvGraphicFramePr>
          <p:cNvPr id="4" name="Tableau 3">
            <a:extLst>
              <a:ext uri="{FF2B5EF4-FFF2-40B4-BE49-F238E27FC236}">
                <a16:creationId xmlns:a16="http://schemas.microsoft.com/office/drawing/2014/main" id="{DE8DE56B-F85E-5735-D701-774C335F3134}"/>
              </a:ext>
            </a:extLst>
          </p:cNvPr>
          <p:cNvGraphicFramePr>
            <a:graphicFrameLocks noGrp="1"/>
          </p:cNvGraphicFramePr>
          <p:nvPr>
            <p:extLst>
              <p:ext uri="{D42A27DB-BD31-4B8C-83A1-F6EECF244321}">
                <p14:modId xmlns:p14="http://schemas.microsoft.com/office/powerpoint/2010/main" val="1278270402"/>
              </p:ext>
            </p:extLst>
          </p:nvPr>
        </p:nvGraphicFramePr>
        <p:xfrm>
          <a:off x="2177542" y="2992830"/>
          <a:ext cx="7870698" cy="2641600"/>
        </p:xfrm>
        <a:graphic>
          <a:graphicData uri="http://schemas.openxmlformats.org/drawingml/2006/table">
            <a:tbl>
              <a:tblPr firstRow="1" bandRow="1">
                <a:tableStyleId>{5C22544A-7EE6-4342-B048-85BDC9FD1C3A}</a:tableStyleId>
              </a:tblPr>
              <a:tblGrid>
                <a:gridCol w="3935349">
                  <a:extLst>
                    <a:ext uri="{9D8B030D-6E8A-4147-A177-3AD203B41FA5}">
                      <a16:colId xmlns:a16="http://schemas.microsoft.com/office/drawing/2014/main" val="3420341436"/>
                    </a:ext>
                  </a:extLst>
                </a:gridCol>
                <a:gridCol w="3935349">
                  <a:extLst>
                    <a:ext uri="{9D8B030D-6E8A-4147-A177-3AD203B41FA5}">
                      <a16:colId xmlns:a16="http://schemas.microsoft.com/office/drawing/2014/main" val="2381923748"/>
                    </a:ext>
                  </a:extLst>
                </a:gridCol>
              </a:tblGrid>
              <a:tr h="528320">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Niveau d’intensité</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Coût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563787103"/>
                  </a:ext>
                </a:extLst>
              </a:tr>
              <a:tr h="528320">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 </a:t>
                      </a: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 à faibl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2 euros alloué selon le préjudice subi.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433379411"/>
                  </a:ext>
                </a:extLst>
              </a:tr>
              <a:tr h="528320">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 Modéré</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2 à 4 euros alloué selon le préjudice subi.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255531541"/>
                  </a:ext>
                </a:extLst>
              </a:tr>
              <a:tr h="528320">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 </a:t>
                      </a:r>
                      <a:r>
                        <a:rPr lang="fr-FR" sz="1400" b="1" dirty="0" err="1">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Elevé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a:t>
                      </a: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 à 6 euros alloué selon le préjudice subi.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433011612"/>
                  </a:ext>
                </a:extLst>
              </a:tr>
              <a:tr h="528320">
                <a:tc>
                  <a:txBody>
                    <a:bodyPr/>
                    <a:lstStyle/>
                    <a:p>
                      <a:pPr algn="ct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 Très élevé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6 à 8 euros alloué selon le préjudice subi.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94714688"/>
                  </a:ext>
                </a:extLst>
              </a:tr>
            </a:tbl>
          </a:graphicData>
        </a:graphic>
      </p:graphicFrame>
    </p:spTree>
    <p:extLst>
      <p:ext uri="{BB962C8B-B14F-4D97-AF65-F5344CB8AC3E}">
        <p14:creationId xmlns:p14="http://schemas.microsoft.com/office/powerpoint/2010/main" val="23465415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7807D-A2A8-61A4-6308-38CF990918D0}"/>
              </a:ext>
            </a:extLst>
          </p:cNvPr>
          <p:cNvSpPr>
            <a:spLocks noGrp="1"/>
          </p:cNvSpPr>
          <p:nvPr>
            <p:ph type="title"/>
          </p:nvPr>
        </p:nvSpPr>
        <p:spPr>
          <a:xfrm>
            <a:off x="838200" y="365126"/>
            <a:ext cx="9321800" cy="919221"/>
          </a:xfrm>
        </p:spPr>
        <p:txBody>
          <a:bodyPr/>
          <a:lstStyle/>
          <a:p>
            <a:r>
              <a:rPr lang="fr-FR" dirty="0"/>
              <a:t>Préjudice sexuel des victimes indirectes : La nature du préjudice </a:t>
            </a:r>
          </a:p>
        </p:txBody>
      </p:sp>
      <p:sp>
        <p:nvSpPr>
          <p:cNvPr id="3" name="Espace réservé du contenu 2">
            <a:extLst>
              <a:ext uri="{FF2B5EF4-FFF2-40B4-BE49-F238E27FC236}">
                <a16:creationId xmlns:a16="http://schemas.microsoft.com/office/drawing/2014/main" id="{F0CB53C0-0409-2763-A342-5E90FE0288E0}"/>
              </a:ext>
            </a:extLst>
          </p:cNvPr>
          <p:cNvSpPr>
            <a:spLocks noGrp="1"/>
          </p:cNvSpPr>
          <p:nvPr>
            <p:ph idx="1"/>
          </p:nvPr>
        </p:nvSpPr>
        <p:spPr>
          <a:xfrm>
            <a:off x="838200" y="1825625"/>
            <a:ext cx="10515600" cy="3978275"/>
          </a:xfrm>
        </p:spPr>
        <p:txBody>
          <a:bodyPr/>
          <a:lstStyle/>
          <a:p>
            <a:r>
              <a:rPr lang="fr-FR" dirty="0"/>
              <a:t>Rappel du préjudice subi par la/le partenaire de la victime indirecte. </a:t>
            </a:r>
          </a:p>
          <a:p>
            <a:r>
              <a:rPr lang="fr-FR" dirty="0"/>
              <a:t>Conséquences sur la vie sexuelle de la victime indirecte : rapport d’expertise, attestations…</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Soit X euros par rapport sexuel.  </a:t>
            </a:r>
          </a:p>
        </p:txBody>
      </p:sp>
      <p:graphicFrame>
        <p:nvGraphicFramePr>
          <p:cNvPr id="4" name="Tableau 3">
            <a:extLst>
              <a:ext uri="{FF2B5EF4-FFF2-40B4-BE49-F238E27FC236}">
                <a16:creationId xmlns:a16="http://schemas.microsoft.com/office/drawing/2014/main" id="{825EEBA9-736A-5885-B670-60C6DF51C4B3}"/>
              </a:ext>
            </a:extLst>
          </p:cNvPr>
          <p:cNvGraphicFramePr>
            <a:graphicFrameLocks noGrp="1"/>
          </p:cNvGraphicFramePr>
          <p:nvPr>
            <p:extLst>
              <p:ext uri="{D42A27DB-BD31-4B8C-83A1-F6EECF244321}">
                <p14:modId xmlns:p14="http://schemas.microsoft.com/office/powerpoint/2010/main" val="3314093762"/>
              </p:ext>
            </p:extLst>
          </p:nvPr>
        </p:nvGraphicFramePr>
        <p:xfrm>
          <a:off x="1624552" y="2743405"/>
          <a:ext cx="8942896" cy="2675572"/>
        </p:xfrm>
        <a:graphic>
          <a:graphicData uri="http://schemas.openxmlformats.org/drawingml/2006/table">
            <a:tbl>
              <a:tblPr firstRow="1" bandRow="1">
                <a:tableStyleId>{5C22544A-7EE6-4342-B048-85BDC9FD1C3A}</a:tableStyleId>
              </a:tblPr>
              <a:tblGrid>
                <a:gridCol w="2235724">
                  <a:extLst>
                    <a:ext uri="{9D8B030D-6E8A-4147-A177-3AD203B41FA5}">
                      <a16:colId xmlns:a16="http://schemas.microsoft.com/office/drawing/2014/main" val="1340699009"/>
                    </a:ext>
                  </a:extLst>
                </a:gridCol>
                <a:gridCol w="2235724">
                  <a:extLst>
                    <a:ext uri="{9D8B030D-6E8A-4147-A177-3AD203B41FA5}">
                      <a16:colId xmlns:a16="http://schemas.microsoft.com/office/drawing/2014/main" val="1391789211"/>
                    </a:ext>
                  </a:extLst>
                </a:gridCol>
                <a:gridCol w="2235724">
                  <a:extLst>
                    <a:ext uri="{9D8B030D-6E8A-4147-A177-3AD203B41FA5}">
                      <a16:colId xmlns:a16="http://schemas.microsoft.com/office/drawing/2014/main" val="4232947224"/>
                    </a:ext>
                  </a:extLst>
                </a:gridCol>
                <a:gridCol w="2235724">
                  <a:extLst>
                    <a:ext uri="{9D8B030D-6E8A-4147-A177-3AD203B41FA5}">
                      <a16:colId xmlns:a16="http://schemas.microsoft.com/office/drawing/2014/main" val="2542392435"/>
                    </a:ext>
                  </a:extLst>
                </a:gridCol>
              </a:tblGrid>
              <a:tr h="668893">
                <a:tc>
                  <a:txBody>
                    <a:bodyPr/>
                    <a:lstStyle/>
                    <a:p>
                      <a:pPr algn="ctr">
                        <a:spcAft>
                          <a:spcPts val="800"/>
                        </a:spcAft>
                        <a:buNone/>
                      </a:pPr>
                      <a:r>
                        <a:rPr lang="fr-FR" sz="14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Aspect du préjudice sexuel</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4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Nature du préjudic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4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Niveau d’intensité</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400" b="1" dirty="0">
                          <a:solidFill>
                            <a:srgbClr val="FFFFFF"/>
                          </a:solidFill>
                          <a:effectLst/>
                          <a:latin typeface="DIN 2014" panose="020B0504020202020204" pitchFamily="34" charset="0"/>
                          <a:ea typeface="DIN 2014" panose="020B0504020202020204" pitchFamily="34" charset="0"/>
                          <a:cs typeface="Times New Roman" panose="02020603050405020304" pitchFamily="18" charset="0"/>
                        </a:rPr>
                        <a:t>Coût</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1842593977"/>
                  </a:ext>
                </a:extLst>
              </a:tr>
              <a:tr h="668893">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Contrainte physiqu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Description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8 euro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032503768"/>
                  </a:ext>
                </a:extLst>
              </a:tr>
              <a:tr h="668893">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Contrainte psychologiqu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Description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lgn="ct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0 à 8 euros</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244167666"/>
                  </a:ext>
                </a:extLst>
              </a:tr>
              <a:tr h="668893">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Contrainte relationnell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Description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Nulle à faible – modérée – élevée – très élevée</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0 à 8 euro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767365103"/>
                  </a:ext>
                </a:extLst>
              </a:tr>
            </a:tbl>
          </a:graphicData>
        </a:graphic>
      </p:graphicFrame>
    </p:spTree>
    <p:extLst>
      <p:ext uri="{BB962C8B-B14F-4D97-AF65-F5344CB8AC3E}">
        <p14:creationId xmlns:p14="http://schemas.microsoft.com/office/powerpoint/2010/main" val="8889471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1BFCC-8845-3B93-D000-4B44238C4BDD}"/>
              </a:ext>
            </a:extLst>
          </p:cNvPr>
          <p:cNvSpPr>
            <a:spLocks noGrp="1"/>
          </p:cNvSpPr>
          <p:nvPr>
            <p:ph type="title"/>
          </p:nvPr>
        </p:nvSpPr>
        <p:spPr>
          <a:xfrm>
            <a:off x="838200" y="365126"/>
            <a:ext cx="9321800" cy="919221"/>
          </a:xfrm>
        </p:spPr>
        <p:txBody>
          <a:bodyPr/>
          <a:lstStyle/>
          <a:p>
            <a:r>
              <a:rPr lang="fr-FR" dirty="0"/>
              <a:t>Préjudice sexuel des victimes indirectes : Le calcul du préjudice sexuel – à titre principal</a:t>
            </a:r>
          </a:p>
        </p:txBody>
      </p:sp>
      <p:sp>
        <p:nvSpPr>
          <p:cNvPr id="3" name="Espace réservé du contenu 2">
            <a:extLst>
              <a:ext uri="{FF2B5EF4-FFF2-40B4-BE49-F238E27FC236}">
                <a16:creationId xmlns:a16="http://schemas.microsoft.com/office/drawing/2014/main" id="{14ACC5DB-470C-4A34-4EBE-FC4BC375B826}"/>
              </a:ext>
            </a:extLst>
          </p:cNvPr>
          <p:cNvSpPr>
            <a:spLocks noGrp="1"/>
          </p:cNvSpPr>
          <p:nvPr>
            <p:ph idx="1"/>
          </p:nvPr>
        </p:nvSpPr>
        <p:spPr>
          <a:xfrm>
            <a:off x="838200" y="1825625"/>
            <a:ext cx="10515600" cy="3978275"/>
          </a:xfrm>
        </p:spPr>
        <p:txBody>
          <a:bodyPr/>
          <a:lstStyle/>
          <a:p>
            <a:pPr lvl="1"/>
            <a:r>
              <a:rPr lang="fr-FR" dirty="0"/>
              <a:t>Détermination du nombre d’années d’espérance de vie de la victime à partir des tables espérance de vie selon résultats provisoires arrêtés à la fin de l’année 2022 de l’INSEE. </a:t>
            </a:r>
          </a:p>
          <a:p>
            <a:pPr lvl="1"/>
            <a:r>
              <a:rPr lang="fr-FR" dirty="0"/>
              <a:t>Préjudice sexuel = quotidien. </a:t>
            </a:r>
          </a:p>
          <a:p>
            <a:pPr lvl="1"/>
            <a:r>
              <a:rPr lang="fr-FR" dirty="0"/>
              <a:t>Même méthode que pour la victime directe – la sexualité est intrinsèquement liée à l’activité du couple. </a:t>
            </a:r>
          </a:p>
          <a:p>
            <a:endParaRPr lang="fr-FR" dirty="0"/>
          </a:p>
          <a:p>
            <a:pPr lvl="1"/>
            <a:r>
              <a:rPr lang="fr-FR" dirty="0"/>
              <a:t>Multiplier le coût du rapport sexuel précité par le nombre de jours sur une année : </a:t>
            </a:r>
          </a:p>
          <a:p>
            <a:r>
              <a:rPr lang="fr-FR" dirty="0"/>
              <a:t>→ Coût x 365 jours = X. </a:t>
            </a:r>
          </a:p>
          <a:p>
            <a:pPr lvl="1"/>
            <a:r>
              <a:rPr lang="fr-FR" dirty="0"/>
              <a:t>Par la suite, multiplier cette somme qui correspond au préjudice annuel de la victime par le nombre d’années d’espérance de vie de la victime à la date de la consolidation : </a:t>
            </a:r>
          </a:p>
          <a:p>
            <a:r>
              <a:rPr lang="fr-FR" dirty="0"/>
              <a:t>→ Coût x nombre d’années d’espérance de vie = X. </a:t>
            </a:r>
          </a:p>
          <a:p>
            <a:endParaRPr lang="fr-FR" dirty="0"/>
          </a:p>
        </p:txBody>
      </p:sp>
    </p:spTree>
    <p:extLst>
      <p:ext uri="{BB962C8B-B14F-4D97-AF65-F5344CB8AC3E}">
        <p14:creationId xmlns:p14="http://schemas.microsoft.com/office/powerpoint/2010/main" val="33245878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158D8A-421A-6712-79C9-05BA8A310667}"/>
              </a:ext>
            </a:extLst>
          </p:cNvPr>
          <p:cNvSpPr>
            <a:spLocks noGrp="1"/>
          </p:cNvSpPr>
          <p:nvPr>
            <p:ph type="title"/>
          </p:nvPr>
        </p:nvSpPr>
        <p:spPr>
          <a:xfrm>
            <a:off x="838200" y="365126"/>
            <a:ext cx="9321800" cy="919221"/>
          </a:xfrm>
        </p:spPr>
        <p:txBody>
          <a:bodyPr/>
          <a:lstStyle/>
          <a:p>
            <a:r>
              <a:rPr lang="fr-FR" dirty="0"/>
              <a:t>Préjudice sexuel des victimes indirectes : Le calcul du préjudice sexuel – à titre subsidiaire	</a:t>
            </a:r>
          </a:p>
        </p:txBody>
      </p:sp>
      <p:sp>
        <p:nvSpPr>
          <p:cNvPr id="3" name="Espace réservé du contenu 2">
            <a:extLst>
              <a:ext uri="{FF2B5EF4-FFF2-40B4-BE49-F238E27FC236}">
                <a16:creationId xmlns:a16="http://schemas.microsoft.com/office/drawing/2014/main" id="{1E918934-1B4B-0AF7-5138-ED7491CDDB44}"/>
              </a:ext>
            </a:extLst>
          </p:cNvPr>
          <p:cNvSpPr>
            <a:spLocks noGrp="1"/>
          </p:cNvSpPr>
          <p:nvPr>
            <p:ph idx="1"/>
          </p:nvPr>
        </p:nvSpPr>
        <p:spPr>
          <a:xfrm>
            <a:off x="838200" y="1825625"/>
            <a:ext cx="10515600" cy="3978275"/>
          </a:xfrm>
        </p:spPr>
        <p:txBody>
          <a:bodyPr/>
          <a:lstStyle/>
          <a:p>
            <a:pPr lvl="1"/>
            <a:r>
              <a:rPr lang="fr-FR" dirty="0"/>
              <a:t>Si la première méthode de calcul n’est pas retenue par la juridiction, il convient d’appliquer, comme pour les victimes directes, une seconde méthode basée sur l’âge de la victime. </a:t>
            </a:r>
          </a:p>
          <a:p>
            <a:pPr lvl="1"/>
            <a:endParaRPr lang="fr-FR" dirty="0"/>
          </a:p>
          <a:p>
            <a:pPr lvl="1"/>
            <a:r>
              <a:rPr lang="fr-FR" dirty="0"/>
              <a:t>Calcule du préjudice sexuel en déterminant le prix d’un rapport sexuel qui prendrait en considération les aspects du préjudice sexuel, ce qui a déjà été effectué (cf. diapositives 29) et de le multiplier par le nombre de rapports sexuels moyens en France, selon l’âge de la victime. </a:t>
            </a:r>
          </a:p>
          <a:p>
            <a:pPr lvl="1"/>
            <a:endParaRPr lang="fr-FR" dirty="0"/>
          </a:p>
          <a:p>
            <a:pPr lvl="1"/>
            <a:r>
              <a:rPr lang="fr-FR" dirty="0"/>
              <a:t>Etude menée sur le Contexte des sexualités en France, initiée et financée par l’ANRS Maladie infectieuses émergentes et menée par des chercheuses de l'Institut national de la santé et de la recherche médicale et de l’Université Paris 1 Panthéon-Sorbonne a déterminé, en recherchant le nombre de rapports sexuels dans les 4 dernières semaines de français, le nombre de rapport sexuel mensuel en fonction de l’âge en 2023. </a:t>
            </a:r>
          </a:p>
          <a:p>
            <a:endParaRPr lang="fr-FR" dirty="0"/>
          </a:p>
        </p:txBody>
      </p:sp>
    </p:spTree>
    <p:extLst>
      <p:ext uri="{BB962C8B-B14F-4D97-AF65-F5344CB8AC3E}">
        <p14:creationId xmlns:p14="http://schemas.microsoft.com/office/powerpoint/2010/main" val="1280339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566DFC-A384-B63D-2140-5021A2A1FB5F}"/>
              </a:ext>
            </a:extLst>
          </p:cNvPr>
          <p:cNvSpPr>
            <a:spLocks noGrp="1"/>
          </p:cNvSpPr>
          <p:nvPr>
            <p:ph type="title"/>
          </p:nvPr>
        </p:nvSpPr>
        <p:spPr/>
        <p:txBody>
          <a:bodyPr/>
          <a:lstStyle/>
          <a:p>
            <a:r>
              <a:rPr lang="fr-FR" dirty="0"/>
              <a:t>Le préjudice d’établissement</a:t>
            </a:r>
          </a:p>
        </p:txBody>
      </p:sp>
      <p:sp>
        <p:nvSpPr>
          <p:cNvPr id="3" name="Espace réservé du contenu 2">
            <a:extLst>
              <a:ext uri="{FF2B5EF4-FFF2-40B4-BE49-F238E27FC236}">
                <a16:creationId xmlns:a16="http://schemas.microsoft.com/office/drawing/2014/main" id="{D233F8B6-02F3-E654-E531-8CFAD02E9E20}"/>
              </a:ext>
            </a:extLst>
          </p:cNvPr>
          <p:cNvSpPr>
            <a:spLocks noGrp="1"/>
          </p:cNvSpPr>
          <p:nvPr>
            <p:ph idx="1"/>
          </p:nvPr>
        </p:nvSpPr>
        <p:spPr>
          <a:xfrm>
            <a:off x="838200" y="1825625"/>
            <a:ext cx="7016931" cy="3978275"/>
          </a:xfrm>
        </p:spPr>
        <p:txBody>
          <a:bodyPr/>
          <a:lstStyle/>
          <a:p>
            <a:pPr algn="just"/>
            <a:r>
              <a:rPr lang="fr-FR" dirty="0"/>
              <a:t>Ce poste de préjudice cherche à indemniser la perte d’espoir, de chance ou de toute possibilité de réaliser un projet de vie familiale normale en raison de la gravité du handicap permanent dont reste atteinte la victime après sa consolidation : il s’agit de </a:t>
            </a:r>
            <a:r>
              <a:rPr lang="fr-FR" b="1" dirty="0"/>
              <a:t>la perte d’une chance</a:t>
            </a:r>
            <a:r>
              <a:rPr lang="fr-FR" dirty="0"/>
              <a:t> de se marier, de fonder une famille, d’élever des enfants et, plus généralement, des bouleversements dans les projets de vie de la victime qui l’obligent à effectuer certaines renonciations sur le plan familial.</a:t>
            </a:r>
          </a:p>
          <a:p>
            <a:pPr algn="just"/>
            <a:r>
              <a:rPr lang="fr-FR" dirty="0"/>
              <a:t>Il convient ici de le définir par référence à la définition retenue par le Conseil national de l’aide aux victimes comme </a:t>
            </a:r>
            <a:r>
              <a:rPr lang="fr-FR" b="1" dirty="0"/>
              <a:t>la « perte d’espoir et de chance de réaliser normalement un projet de vie familiale (se marier, fonder une famille, élever des enfants, etc.) en raison de la gravité du handicap »</a:t>
            </a:r>
            <a:r>
              <a:rPr lang="fr-FR" dirty="0"/>
              <a:t>.</a:t>
            </a:r>
          </a:p>
          <a:p>
            <a:pPr algn="just"/>
            <a:r>
              <a:rPr lang="fr-FR" dirty="0"/>
              <a:t>Ce type de préjudice doit être apprécié </a:t>
            </a:r>
            <a:r>
              <a:rPr lang="fr-FR" b="1" dirty="0"/>
              <a:t>in </a:t>
            </a:r>
            <a:r>
              <a:rPr lang="fr-FR" b="1" dirty="0" err="1"/>
              <a:t>concreto</a:t>
            </a:r>
            <a:r>
              <a:rPr lang="fr-FR" dirty="0"/>
              <a:t> pour chaque </a:t>
            </a:r>
            <a:r>
              <a:rPr lang="fr-FR" b="1" dirty="0"/>
              <a:t>individu</a:t>
            </a:r>
            <a:r>
              <a:rPr lang="fr-FR" dirty="0"/>
              <a:t>, en tenant compte notamment de son âge.</a:t>
            </a:r>
          </a:p>
          <a:p>
            <a:endParaRPr lang="fr-FR" dirty="0"/>
          </a:p>
        </p:txBody>
      </p:sp>
      <p:sp>
        <p:nvSpPr>
          <p:cNvPr id="4" name="Légende : encadrée à une bordure 3">
            <a:extLst>
              <a:ext uri="{FF2B5EF4-FFF2-40B4-BE49-F238E27FC236}">
                <a16:creationId xmlns:a16="http://schemas.microsoft.com/office/drawing/2014/main" id="{FF541911-6E67-1D7B-254C-B10DBECE1ECE}"/>
              </a:ext>
            </a:extLst>
          </p:cNvPr>
          <p:cNvSpPr/>
          <p:nvPr/>
        </p:nvSpPr>
        <p:spPr>
          <a:xfrm>
            <a:off x="8467997" y="2742433"/>
            <a:ext cx="3033657" cy="1161975"/>
          </a:xfrm>
          <a:prstGeom prst="borderCallout1">
            <a:avLst>
              <a:gd name="adj1" fmla="val 47440"/>
              <a:gd name="adj2" fmla="val 458"/>
              <a:gd name="adj3" fmla="val -35870"/>
              <a:gd name="adj4" fmla="val -49008"/>
            </a:avLst>
          </a:prstGeom>
          <a:noFill/>
          <a:ln w="12700">
            <a:solidFill>
              <a:schemeClr val="accent1"/>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t>C’est quoi une vie familiale normale ? Observer le glissement sémantique avec ce qui est en gras</a:t>
            </a:r>
          </a:p>
        </p:txBody>
      </p:sp>
      <p:sp>
        <p:nvSpPr>
          <p:cNvPr id="5" name="Légende : encadrée à une bordure 4">
            <a:extLst>
              <a:ext uri="{FF2B5EF4-FFF2-40B4-BE49-F238E27FC236}">
                <a16:creationId xmlns:a16="http://schemas.microsoft.com/office/drawing/2014/main" id="{87114C21-DF75-ACED-16E0-91F4F3A9B330}"/>
              </a:ext>
            </a:extLst>
          </p:cNvPr>
          <p:cNvSpPr/>
          <p:nvPr/>
        </p:nvSpPr>
        <p:spPr>
          <a:xfrm>
            <a:off x="8467997" y="1244637"/>
            <a:ext cx="3033657" cy="1161975"/>
          </a:xfrm>
          <a:prstGeom prst="borderCallout1">
            <a:avLst>
              <a:gd name="adj1" fmla="val 52359"/>
              <a:gd name="adj2" fmla="val -484"/>
              <a:gd name="adj3" fmla="val 74793"/>
              <a:gd name="adj4" fmla="val -191868"/>
            </a:avLst>
          </a:prstGeom>
          <a:noFill/>
          <a:ln w="12700">
            <a:solidFill>
              <a:schemeClr val="accent1"/>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t>Ça reste une perte de chance…</a:t>
            </a:r>
          </a:p>
        </p:txBody>
      </p:sp>
      <p:sp>
        <p:nvSpPr>
          <p:cNvPr id="6" name="Légende : encadrée à une bordure 5">
            <a:extLst>
              <a:ext uri="{FF2B5EF4-FFF2-40B4-BE49-F238E27FC236}">
                <a16:creationId xmlns:a16="http://schemas.microsoft.com/office/drawing/2014/main" id="{EA68521E-F27C-AC77-F3A8-3751B7A0FE0C}"/>
              </a:ext>
            </a:extLst>
          </p:cNvPr>
          <p:cNvSpPr/>
          <p:nvPr/>
        </p:nvSpPr>
        <p:spPr>
          <a:xfrm>
            <a:off x="8467997" y="4240229"/>
            <a:ext cx="3033657" cy="1161975"/>
          </a:xfrm>
          <a:prstGeom prst="borderCallout1">
            <a:avLst>
              <a:gd name="adj1" fmla="val 47440"/>
              <a:gd name="adj2" fmla="val 772"/>
              <a:gd name="adj3" fmla="val -55544"/>
              <a:gd name="adj4" fmla="val -94535"/>
            </a:avLst>
          </a:prstGeom>
          <a:noFill/>
          <a:ln w="12700">
            <a:solidFill>
              <a:schemeClr val="accent1"/>
            </a:solidFill>
            <a:tailEnd type="ova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dirty="0"/>
              <a:t>La pratique est plus restreinte…</a:t>
            </a:r>
          </a:p>
        </p:txBody>
      </p:sp>
    </p:spTree>
    <p:extLst>
      <p:ext uri="{BB962C8B-B14F-4D97-AF65-F5344CB8AC3E}">
        <p14:creationId xmlns:p14="http://schemas.microsoft.com/office/powerpoint/2010/main" val="29949942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DB491C-6849-3AC4-2A3C-E66CDD6CFE1A}"/>
              </a:ext>
            </a:extLst>
          </p:cNvPr>
          <p:cNvSpPr>
            <a:spLocks noGrp="1"/>
          </p:cNvSpPr>
          <p:nvPr>
            <p:ph type="title"/>
          </p:nvPr>
        </p:nvSpPr>
        <p:spPr>
          <a:xfrm>
            <a:off x="838200" y="365126"/>
            <a:ext cx="9321800" cy="919221"/>
          </a:xfrm>
        </p:spPr>
        <p:txBody>
          <a:bodyPr/>
          <a:lstStyle/>
          <a:p>
            <a:r>
              <a:rPr lang="fr-FR" dirty="0"/>
              <a:t>Préjudice sexuel des victimes indirectes : Le calcul du préjudice sexuel – à titre subsidiaire</a:t>
            </a:r>
          </a:p>
        </p:txBody>
      </p:sp>
      <p:sp>
        <p:nvSpPr>
          <p:cNvPr id="3" name="Espace réservé du contenu 2">
            <a:extLst>
              <a:ext uri="{FF2B5EF4-FFF2-40B4-BE49-F238E27FC236}">
                <a16:creationId xmlns:a16="http://schemas.microsoft.com/office/drawing/2014/main" id="{DB2F97CE-4E3E-E44D-514D-80288FB020FA}"/>
              </a:ext>
            </a:extLst>
          </p:cNvPr>
          <p:cNvSpPr>
            <a:spLocks noGrp="1"/>
          </p:cNvSpPr>
          <p:nvPr>
            <p:ph idx="1"/>
          </p:nvPr>
        </p:nvSpPr>
        <p:spPr>
          <a:xfrm>
            <a:off x="838200" y="1778490"/>
            <a:ext cx="10515600" cy="3978275"/>
          </a:xfrm>
        </p:spPr>
        <p:txBody>
          <a:bodyPr/>
          <a:lstStyle/>
          <a:p>
            <a:endParaRPr lang="fr-FR" dirty="0"/>
          </a:p>
          <a:p>
            <a:endParaRPr lang="fr-FR" dirty="0"/>
          </a:p>
          <a:p>
            <a:endParaRPr lang="fr-FR" dirty="0"/>
          </a:p>
          <a:p>
            <a:endParaRPr lang="fr-FR" dirty="0"/>
          </a:p>
          <a:p>
            <a:endParaRPr lang="fr-FR" dirty="0"/>
          </a:p>
          <a:p>
            <a:endParaRPr lang="fr-FR" dirty="0"/>
          </a:p>
          <a:p>
            <a:endParaRPr lang="fr-FR" dirty="0"/>
          </a:p>
          <a:p>
            <a:r>
              <a:rPr lang="fr-FR" i="1" dirty="0">
                <a:solidFill>
                  <a:schemeClr val="accent1"/>
                </a:solidFill>
              </a:rPr>
              <a:t>*</a:t>
            </a:r>
            <a:r>
              <a:rPr lang="fr-FR" i="1" dirty="0"/>
              <a:t>L’étude ne porte que sur les personnes de 18 à 69 ans mais l’espérance de vie à la naissance étant de 85,6  ans pour une femme et de 80 ans pour un homme en 2024 d’après l’INSEE, il conviendra de se référer au nombre de rapports sexuels entre 60 et 69 ans pour la période postérieure au 69 ans de la victime. </a:t>
            </a:r>
          </a:p>
          <a:p>
            <a:r>
              <a:rPr lang="fr-FR" dirty="0"/>
              <a:t>Il convient de préciser que ce tableau ne prend pas en compte les plaisirs dits solitaires, et n’est donc pas pleinement représentatif. </a:t>
            </a:r>
          </a:p>
          <a:p>
            <a:endParaRPr lang="fr-FR" dirty="0"/>
          </a:p>
        </p:txBody>
      </p:sp>
      <p:graphicFrame>
        <p:nvGraphicFramePr>
          <p:cNvPr id="4" name="Tableau 3">
            <a:extLst>
              <a:ext uri="{FF2B5EF4-FFF2-40B4-BE49-F238E27FC236}">
                <a16:creationId xmlns:a16="http://schemas.microsoft.com/office/drawing/2014/main" id="{9DCB5EE5-34D5-0882-34E0-388067C8E4CB}"/>
              </a:ext>
            </a:extLst>
          </p:cNvPr>
          <p:cNvGraphicFramePr>
            <a:graphicFrameLocks noGrp="1"/>
          </p:cNvGraphicFramePr>
          <p:nvPr>
            <p:extLst>
              <p:ext uri="{D42A27DB-BD31-4B8C-83A1-F6EECF244321}">
                <p14:modId xmlns:p14="http://schemas.microsoft.com/office/powerpoint/2010/main" val="2166936913"/>
              </p:ext>
            </p:extLst>
          </p:nvPr>
        </p:nvGraphicFramePr>
        <p:xfrm>
          <a:off x="2151380" y="1612174"/>
          <a:ext cx="7889241" cy="2630878"/>
        </p:xfrm>
        <a:graphic>
          <a:graphicData uri="http://schemas.openxmlformats.org/drawingml/2006/table">
            <a:tbl>
              <a:tblPr firstRow="1" bandRow="1">
                <a:tableStyleId>{5C22544A-7EE6-4342-B048-85BDC9FD1C3A}</a:tableStyleId>
              </a:tblPr>
              <a:tblGrid>
                <a:gridCol w="2629747">
                  <a:extLst>
                    <a:ext uri="{9D8B030D-6E8A-4147-A177-3AD203B41FA5}">
                      <a16:colId xmlns:a16="http://schemas.microsoft.com/office/drawing/2014/main" val="1423004144"/>
                    </a:ext>
                  </a:extLst>
                </a:gridCol>
                <a:gridCol w="2629747">
                  <a:extLst>
                    <a:ext uri="{9D8B030D-6E8A-4147-A177-3AD203B41FA5}">
                      <a16:colId xmlns:a16="http://schemas.microsoft.com/office/drawing/2014/main" val="3192460279"/>
                    </a:ext>
                  </a:extLst>
                </a:gridCol>
                <a:gridCol w="2629747">
                  <a:extLst>
                    <a:ext uri="{9D8B030D-6E8A-4147-A177-3AD203B41FA5}">
                      <a16:colId xmlns:a16="http://schemas.microsoft.com/office/drawing/2014/main" val="3099925772"/>
                    </a:ext>
                  </a:extLst>
                </a:gridCol>
              </a:tblGrid>
              <a:tr h="433444">
                <a:tc>
                  <a:txBody>
                    <a:bodyPr/>
                    <a:lstStyle/>
                    <a:p>
                      <a:pPr algn="just">
                        <a:spcAft>
                          <a:spcPts val="800"/>
                        </a:spcAft>
                        <a:buNone/>
                      </a:pPr>
                      <a:r>
                        <a:rPr lang="fr-FR" sz="1600" b="1" i="0"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rPr>
                        <a:t>Age </a:t>
                      </a:r>
                      <a:endParaRPr lang="fr-FR" sz="1600" i="0"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just">
                        <a:spcAft>
                          <a:spcPts val="800"/>
                        </a:spcAft>
                        <a:buNone/>
                      </a:pPr>
                      <a:r>
                        <a:rPr lang="fr-FR" sz="1600" b="1"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rPr>
                        <a:t>Femme</a:t>
                      </a:r>
                      <a:endParaRPr lang="fr-FR" sz="1600"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just">
                        <a:spcAft>
                          <a:spcPts val="800"/>
                        </a:spcAft>
                        <a:buNone/>
                      </a:pPr>
                      <a:r>
                        <a:rPr lang="fr-FR" sz="1600" b="1"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rPr>
                        <a:t>Homme</a:t>
                      </a:r>
                      <a:endParaRPr lang="fr-FR" sz="1600" dirty="0">
                        <a:solidFill>
                          <a:schemeClr val="bg1"/>
                        </a:solidFill>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010373240"/>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18-29 ans </a:t>
                      </a:r>
                      <a:endParaRPr lang="fr-FR" sz="1600" b="1" i="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7,9</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9,1</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693851620"/>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30-39 ans </a:t>
                      </a:r>
                      <a:endParaRPr lang="fr-FR" sz="1600" b="1" i="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6,9</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7,7</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59275316"/>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0-49 ans </a:t>
                      </a:r>
                      <a:endParaRPr lang="fr-FR" sz="1600" b="1" i="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2</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7,1</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527745208"/>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50-59 ans </a:t>
                      </a:r>
                      <a:endParaRPr lang="fr-FR" sz="1600" b="1" i="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5,0</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5,8</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866121008"/>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0-69 ans</a:t>
                      </a:r>
                      <a:endParaRPr lang="fr-FR" sz="1600" b="1" i="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3,3</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tc>
                  <a:txBody>
                    <a:bodyPr/>
                    <a:lstStyle/>
                    <a:p>
                      <a:pPr algn="just">
                        <a:spcAft>
                          <a:spcPts val="800"/>
                        </a:spcAft>
                        <a:buNone/>
                      </a:pPr>
                      <a:r>
                        <a:rPr lang="fr-FR" sz="1600" b="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3</a:t>
                      </a:r>
                      <a:endParaRPr lang="fr-FR" sz="1600" b="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136602589"/>
                  </a:ext>
                </a:extLst>
              </a:tr>
              <a:tr h="366239">
                <a:tc>
                  <a:txBody>
                    <a:bodyPr/>
                    <a:lstStyle/>
                    <a:p>
                      <a:pPr algn="just">
                        <a:spcAft>
                          <a:spcPts val="800"/>
                        </a:spcAft>
                        <a:buNone/>
                      </a:pPr>
                      <a:r>
                        <a:rPr lang="fr-FR" sz="1600" b="1" i="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Après 70 ans</a:t>
                      </a:r>
                      <a:r>
                        <a:rPr lang="fr-FR" sz="1600" b="1" i="0" dirty="0">
                          <a:solidFill>
                            <a:schemeClr val="accent1"/>
                          </a:solidFill>
                          <a:effectLst/>
                          <a:latin typeface="DIN 2014" panose="020B0504020202020204" pitchFamily="34" charset="0"/>
                          <a:ea typeface="DIN 2014" panose="020B0504020202020204" pitchFamily="34" charset="0"/>
                          <a:cs typeface="Times New Roman" panose="02020603050405020304" pitchFamily="18" charset="0"/>
                        </a:rPr>
                        <a:t>*</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3,3</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just">
                        <a:spcAft>
                          <a:spcPts val="800"/>
                        </a:spcAft>
                        <a:buNone/>
                      </a:pPr>
                      <a:r>
                        <a:rPr lang="fr-FR" sz="1600" b="0" dirty="0">
                          <a:effectLst/>
                          <a:latin typeface="DIN 2014" panose="020B0504020202020204" pitchFamily="34" charset="0"/>
                          <a:ea typeface="DIN 2014" panose="020B0504020202020204" pitchFamily="34" charset="0"/>
                          <a:cs typeface="Times New Roman" panose="02020603050405020304" pitchFamily="18" charset="0"/>
                        </a:rPr>
                        <a:t>4,3</a:t>
                      </a:r>
                    </a:p>
                  </a:txBody>
                  <a:tcPr marL="68580" marR="68580" marT="0" marB="0" anchor="ctr">
                    <a:lnT w="28575"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43577622"/>
                  </a:ext>
                </a:extLst>
              </a:tr>
            </a:tbl>
          </a:graphicData>
        </a:graphic>
      </p:graphicFrame>
    </p:spTree>
    <p:extLst>
      <p:ext uri="{BB962C8B-B14F-4D97-AF65-F5344CB8AC3E}">
        <p14:creationId xmlns:p14="http://schemas.microsoft.com/office/powerpoint/2010/main" val="63074625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E055B2-C843-7D7D-6716-75CA741A413B}"/>
              </a:ext>
            </a:extLst>
          </p:cNvPr>
          <p:cNvSpPr>
            <a:spLocks noGrp="1"/>
          </p:cNvSpPr>
          <p:nvPr>
            <p:ph type="title"/>
          </p:nvPr>
        </p:nvSpPr>
        <p:spPr>
          <a:xfrm>
            <a:off x="838200" y="365126"/>
            <a:ext cx="9321800" cy="919221"/>
          </a:xfrm>
        </p:spPr>
        <p:txBody>
          <a:bodyPr/>
          <a:lstStyle/>
          <a:p>
            <a:r>
              <a:rPr lang="fr-FR" dirty="0"/>
              <a:t>Préjudice sexuel des victimes indirectes : Le calcul du préjudice sexuel – à titre subsidiaire</a:t>
            </a:r>
          </a:p>
        </p:txBody>
      </p:sp>
      <p:graphicFrame>
        <p:nvGraphicFramePr>
          <p:cNvPr id="5" name="Espace réservé du contenu 4">
            <a:extLst>
              <a:ext uri="{FF2B5EF4-FFF2-40B4-BE49-F238E27FC236}">
                <a16:creationId xmlns:a16="http://schemas.microsoft.com/office/drawing/2014/main" id="{57534514-25F8-5FC2-841A-D06079B5886F}"/>
              </a:ext>
            </a:extLst>
          </p:cNvPr>
          <p:cNvGraphicFramePr>
            <a:graphicFrameLocks noGrp="1"/>
          </p:cNvGraphicFramePr>
          <p:nvPr>
            <p:ph idx="1"/>
            <p:extLst>
              <p:ext uri="{D42A27DB-BD31-4B8C-83A1-F6EECF244321}">
                <p14:modId xmlns:p14="http://schemas.microsoft.com/office/powerpoint/2010/main" val="1837945178"/>
              </p:ext>
            </p:extLst>
          </p:nvPr>
        </p:nvGraphicFramePr>
        <p:xfrm>
          <a:off x="914400" y="1585944"/>
          <a:ext cx="10718277" cy="4271902"/>
        </p:xfrm>
        <a:graphic>
          <a:graphicData uri="http://schemas.openxmlformats.org/drawingml/2006/table">
            <a:tbl>
              <a:tblPr firstRow="1" bandRow="1">
                <a:tableStyleId>{5C22544A-7EE6-4342-B048-85BDC9FD1C3A}</a:tableStyleId>
              </a:tblPr>
              <a:tblGrid>
                <a:gridCol w="2625754">
                  <a:extLst>
                    <a:ext uri="{9D8B030D-6E8A-4147-A177-3AD203B41FA5}">
                      <a16:colId xmlns:a16="http://schemas.microsoft.com/office/drawing/2014/main" val="2435629366"/>
                    </a:ext>
                  </a:extLst>
                </a:gridCol>
                <a:gridCol w="2967884">
                  <a:extLst>
                    <a:ext uri="{9D8B030D-6E8A-4147-A177-3AD203B41FA5}">
                      <a16:colId xmlns:a16="http://schemas.microsoft.com/office/drawing/2014/main" val="4065687961"/>
                    </a:ext>
                  </a:extLst>
                </a:gridCol>
                <a:gridCol w="3843278">
                  <a:extLst>
                    <a:ext uri="{9D8B030D-6E8A-4147-A177-3AD203B41FA5}">
                      <a16:colId xmlns:a16="http://schemas.microsoft.com/office/drawing/2014/main" val="591734110"/>
                    </a:ext>
                  </a:extLst>
                </a:gridCol>
                <a:gridCol w="1281361">
                  <a:extLst>
                    <a:ext uri="{9D8B030D-6E8A-4147-A177-3AD203B41FA5}">
                      <a16:colId xmlns:a16="http://schemas.microsoft.com/office/drawing/2014/main" val="1731497787"/>
                    </a:ext>
                  </a:extLst>
                </a:gridCol>
              </a:tblGrid>
              <a:tr h="470877">
                <a:tc>
                  <a:txBody>
                    <a:bodyPr/>
                    <a:lstStyle/>
                    <a:p>
                      <a:pPr algn="ctr">
                        <a:spcAft>
                          <a:spcPts val="800"/>
                        </a:spcAft>
                        <a:buNone/>
                      </a:pPr>
                      <a:r>
                        <a:rPr lang="fr-FR" sz="1000" b="1" dirty="0">
                          <a:effectLst/>
                          <a:latin typeface="DIN 2014" panose="020B0504020202020204" pitchFamily="34" charset="0"/>
                          <a:ea typeface="DIN 2014" panose="020B0504020202020204" pitchFamily="34" charset="0"/>
                          <a:cs typeface="Times New Roman" panose="02020603050405020304" pitchFamily="18" charset="0"/>
                        </a:rPr>
                        <a:t>Tranche d’âge à partir de 18 ans </a:t>
                      </a:r>
                      <a:br>
                        <a:rPr lang="fr-FR" sz="1000" b="1" dirty="0">
                          <a:effectLst/>
                          <a:latin typeface="DIN 2014" panose="020B0504020202020204" pitchFamily="34" charset="0"/>
                          <a:ea typeface="DIN 2014" panose="020B0504020202020204" pitchFamily="34" charset="0"/>
                          <a:cs typeface="Times New Roman" panose="02020603050405020304" pitchFamily="18" charset="0"/>
                        </a:rPr>
                      </a:br>
                      <a:r>
                        <a:rPr lang="fr-FR" sz="1000" b="1" i="1" dirty="0">
                          <a:effectLst/>
                          <a:latin typeface="DIN 2014" panose="020B0504020202020204" pitchFamily="34" charset="0"/>
                          <a:ea typeface="DIN 2014" panose="020B0504020202020204" pitchFamily="34" charset="0"/>
                          <a:cs typeface="Times New Roman" panose="02020603050405020304" pitchFamily="18" charset="0"/>
                        </a:rPr>
                        <a:t>(âge de la consolidation)</a:t>
                      </a:r>
                      <a:endParaRPr lang="fr-FR" sz="10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000" b="1" dirty="0">
                          <a:effectLst/>
                          <a:latin typeface="DIN 2014" panose="020B0504020202020204" pitchFamily="34" charset="0"/>
                          <a:ea typeface="DIN 2014" panose="020B0504020202020204" pitchFamily="34" charset="0"/>
                          <a:cs typeface="Times New Roman" panose="02020603050405020304" pitchFamily="18" charset="0"/>
                        </a:rPr>
                        <a:t>Nombre de rapports sexuels</a:t>
                      </a:r>
                      <a:endParaRPr lang="fr-FR" sz="10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lgn="ctr">
                        <a:spcAft>
                          <a:spcPts val="800"/>
                        </a:spcAft>
                        <a:buNone/>
                      </a:pPr>
                      <a:r>
                        <a:rPr lang="fr-FR" sz="1000" b="1" dirty="0">
                          <a:effectLst/>
                          <a:latin typeface="DIN 2014" panose="020B0504020202020204" pitchFamily="34" charset="0"/>
                          <a:ea typeface="DIN 2014" panose="020B0504020202020204" pitchFamily="34" charset="0"/>
                          <a:cs typeface="Times New Roman" panose="02020603050405020304" pitchFamily="18" charset="0"/>
                        </a:rPr>
                        <a:t>Calcul</a:t>
                      </a:r>
                      <a:endParaRPr lang="fr-FR" sz="10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tc>
                  <a:txBody>
                    <a:bodyPr/>
                    <a:lstStyle/>
                    <a:p>
                      <a:pPr>
                        <a:spcAft>
                          <a:spcPts val="800"/>
                        </a:spcAft>
                        <a:buNone/>
                      </a:pPr>
                      <a:r>
                        <a:rPr lang="fr-FR" sz="1000" b="1" dirty="0">
                          <a:effectLst/>
                          <a:latin typeface="DIN 2014" panose="020B0504020202020204" pitchFamily="34" charset="0"/>
                          <a:ea typeface="DIN 2014" panose="020B0504020202020204" pitchFamily="34" charset="0"/>
                          <a:cs typeface="Times New Roman" panose="02020603050405020304" pitchFamily="18" charset="0"/>
                        </a:rPr>
                        <a:t>Résultats </a:t>
                      </a:r>
                      <a:endParaRPr lang="fr-FR" sz="10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562390096"/>
                  </a:ext>
                </a:extLst>
              </a:tr>
              <a:tr h="569650">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18-29 an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7,9 par mois soit 94,8 par an.</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94,8 x 12 années = 1.137,60 rapports sexuel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a:t>
                      </a: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1.137,60 x 10 euros par rapport sexuel.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X euro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984040521"/>
                  </a:ext>
                </a:extLst>
              </a:tr>
              <a:tr h="744718">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30-39 an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6,9 par mois soit 82,8 par an.</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82,8 x 10 années = 828 rapports sexuels. </a:t>
                      </a:r>
                    </a:p>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828 x 10 euros par rapport sexuel.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X euros.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778470212"/>
                  </a:ext>
                </a:extLst>
              </a:tr>
              <a:tr h="544779">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40-49 an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2 par mois soit 74,4 par an.</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74,4 x 10 années = 744 rapports sexuel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744 x 10 euros par rapport sexuel.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X euro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69022221"/>
                  </a:ext>
                </a:extLst>
              </a:tr>
              <a:tr h="544779">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50-59 an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5,0 par mois soit 60 par an.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60 x 10 années = 600 rapports sexuels. </a:t>
                      </a:r>
                    </a:p>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600 x 10 euros par rapport sexuel.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X euros.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1856954"/>
                  </a:ext>
                </a:extLst>
              </a:tr>
              <a:tr h="544779">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60-69 an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3,3 par mois soit 39,6 par an.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39,6 x 10 années = 396 rapports sexuel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 396 x 10 euros par rapport sexuel.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X euros.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087640325"/>
                  </a:ext>
                </a:extLst>
              </a:tr>
              <a:tr h="493037">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De 70 ans à 85,72 an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b="1" dirty="0">
                          <a:effectLst/>
                          <a:latin typeface="DIN 2014" panose="020B0504020202020204" pitchFamily="34" charset="0"/>
                          <a:ea typeface="DIN 2014" panose="020B0504020202020204" pitchFamily="34" charset="0"/>
                          <a:cs typeface="Times New Roman" panose="02020603050405020304" pitchFamily="18" charset="0"/>
                        </a:rPr>
                        <a:t>3,3 par mois soit 39,6 par an.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39,6 x 15,72 années =622,51 rapports sexuels. </a:t>
                      </a:r>
                    </a:p>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622,51 x 10 euros par rapport sexuel.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X euros.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703640354"/>
                  </a:ext>
                </a:extLst>
              </a:tr>
              <a:tr h="324000">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TOTAL : </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400" dirty="0">
                          <a:effectLst/>
                          <a:latin typeface="DIN 2014" panose="020B0504020202020204" pitchFamily="34" charset="0"/>
                          <a:ea typeface="DIN 2014" panose="020B0504020202020204" pitchFamily="34" charset="0"/>
                          <a:cs typeface="Times New Roman" panose="02020603050405020304" pitchFamily="18" charset="0"/>
                        </a:rPr>
                        <a:t> </a:t>
                      </a: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spcAft>
                          <a:spcPts val="800"/>
                        </a:spcAft>
                        <a:buNone/>
                      </a:pPr>
                      <a:r>
                        <a:rPr lang="fr-FR" sz="1400" b="1" dirty="0">
                          <a:solidFill>
                            <a:srgbClr val="000000"/>
                          </a:solidFill>
                          <a:effectLst/>
                          <a:latin typeface="DIN 2014" panose="020B0504020202020204" pitchFamily="34" charset="0"/>
                          <a:ea typeface="DIN 2014" panose="020B0504020202020204" pitchFamily="34" charset="0"/>
                          <a:cs typeface="Times New Roman" panose="02020603050405020304" pitchFamily="18" charset="0"/>
                        </a:rPr>
                        <a:t>X euros</a:t>
                      </a:r>
                      <a:endParaRPr lang="fr-FR" sz="1400" dirty="0">
                        <a:effectLst/>
                        <a:latin typeface="DIN 2014" panose="020B0504020202020204" pitchFamily="34" charset="0"/>
                        <a:ea typeface="DIN 2014" panose="020B0504020202020204" pitchFamily="34" charset="0"/>
                        <a:cs typeface="Times New Roman" panose="02020603050405020304" pitchFamily="18" charset="0"/>
                      </a:endParaRPr>
                    </a:p>
                  </a:txBody>
                  <a:tcPr marL="68580" marR="68580" marT="0" marB="0" anchor="ctr">
                    <a:lnT w="12700" cap="flat" cmpd="sng" algn="ctr">
                      <a:solidFill>
                        <a:schemeClr val="bg2">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74058423"/>
                  </a:ext>
                </a:extLst>
              </a:tr>
            </a:tbl>
          </a:graphicData>
        </a:graphic>
      </p:graphicFrame>
    </p:spTree>
    <p:extLst>
      <p:ext uri="{BB962C8B-B14F-4D97-AF65-F5344CB8AC3E}">
        <p14:creationId xmlns:p14="http://schemas.microsoft.com/office/powerpoint/2010/main" val="5864677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E1B5EE-20DA-F28F-1896-041FB5EAF43A}"/>
              </a:ext>
            </a:extLst>
          </p:cNvPr>
          <p:cNvSpPr>
            <a:spLocks noGrp="1"/>
          </p:cNvSpPr>
          <p:nvPr>
            <p:ph type="title"/>
          </p:nvPr>
        </p:nvSpPr>
        <p:spPr>
          <a:xfrm>
            <a:off x="1167384" y="2509779"/>
            <a:ext cx="9321800" cy="919221"/>
          </a:xfrm>
        </p:spPr>
        <p:txBody>
          <a:bodyPr/>
          <a:lstStyle/>
          <a:p>
            <a:pPr algn="ctr"/>
            <a:r>
              <a:rPr lang="fr-FR" dirty="0"/>
              <a:t>Nous vous remercions pour votre attention.</a:t>
            </a:r>
            <a:br>
              <a:rPr lang="fr-FR" dirty="0"/>
            </a:br>
            <a:br>
              <a:rPr lang="fr-FR" dirty="0"/>
            </a:br>
            <a:endParaRPr lang="fr-FR" dirty="0"/>
          </a:p>
        </p:txBody>
      </p:sp>
    </p:spTree>
    <p:extLst>
      <p:ext uri="{BB962C8B-B14F-4D97-AF65-F5344CB8AC3E}">
        <p14:creationId xmlns:p14="http://schemas.microsoft.com/office/powerpoint/2010/main" val="4179272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163A7-D4D6-56C3-46BE-A03FFD005A1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C901923-131E-A25A-28D0-2749DAEB3C9C}"/>
              </a:ext>
            </a:extLst>
          </p:cNvPr>
          <p:cNvSpPr>
            <a:spLocks noGrp="1"/>
          </p:cNvSpPr>
          <p:nvPr>
            <p:ph type="ctrTitle"/>
          </p:nvPr>
        </p:nvSpPr>
        <p:spPr>
          <a:xfrm>
            <a:off x="756745" y="1320519"/>
            <a:ext cx="5339255" cy="2387600"/>
          </a:xfrm>
        </p:spPr>
        <p:txBody>
          <a:bodyPr/>
          <a:lstStyle/>
          <a:p>
            <a:r>
              <a:rPr lang="fr-FR" dirty="0"/>
              <a:t>Un peu d’actualité</a:t>
            </a:r>
          </a:p>
        </p:txBody>
      </p:sp>
    </p:spTree>
    <p:extLst>
      <p:ext uri="{BB962C8B-B14F-4D97-AF65-F5344CB8AC3E}">
        <p14:creationId xmlns:p14="http://schemas.microsoft.com/office/powerpoint/2010/main" val="3603726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4497A0-32EE-46D5-9650-D8F955F62E5D}"/>
</file>

<file path=customXml/itemProps2.xml><?xml version="1.0" encoding="utf-8"?>
<ds:datastoreItem xmlns:ds="http://schemas.openxmlformats.org/officeDocument/2006/customXml" ds:itemID="{33B8C430-5ECF-4F6E-B6B0-48170D2E5D6A}"/>
</file>

<file path=customXml/itemProps3.xml><?xml version="1.0" encoding="utf-8"?>
<ds:datastoreItem xmlns:ds="http://schemas.openxmlformats.org/officeDocument/2006/customXml" ds:itemID="{FF1F71A3-1FA8-4D36-BBB8-A0DFDBBA5154}"/>
</file>

<file path=docMetadata/LabelInfo.xml><?xml version="1.0" encoding="utf-8"?>
<clbl:labelList xmlns:clbl="http://schemas.microsoft.com/office/2020/mipLabelMetadata">
  <clbl:label id="{aa321b6e-c2f4-42f8-95b8-4d018e6d28ec}" enabled="0" method="" siteId="{aa321b6e-c2f4-42f8-95b8-4d018e6d28ec}" removed="1"/>
  <clbl:label id="{e21e9783-d0a0-48f8-850e-0b081b46d788}" enabled="0" method="" siteId="{e21e9783-d0a0-48f8-850e-0b081b46d788}" removed="1"/>
</clbl:labelList>
</file>

<file path=docProps/app.xml><?xml version="1.0" encoding="utf-8"?>
<Properties xmlns="http://schemas.openxmlformats.org/officeDocument/2006/extended-properties" xmlns:vt="http://schemas.openxmlformats.org/officeDocument/2006/docPropsVTypes">
  <TotalTime>1409</TotalTime>
  <Words>7538</Words>
  <Application>Microsoft Office PowerPoint</Application>
  <PresentationFormat>Widescreen</PresentationFormat>
  <Paragraphs>679</Paragraphs>
  <Slides>82</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82</vt:i4>
      </vt:variant>
    </vt:vector>
  </HeadingPairs>
  <TitlesOfParts>
    <vt:vector size="89" baseType="lpstr">
      <vt:lpstr>Aptos</vt:lpstr>
      <vt:lpstr>Arial</vt:lpstr>
      <vt:lpstr>DIN 2014</vt:lpstr>
      <vt:lpstr>Futura PT Book</vt:lpstr>
      <vt:lpstr>Futura PT Heavy</vt:lpstr>
      <vt:lpstr>Wingdings</vt:lpstr>
      <vt:lpstr>Office Theme</vt:lpstr>
      <vt:lpstr>ATELIER 6 :   Préjudices extRa-patrimoniaux  hors déficit fonctionnel</vt:lpstr>
      <vt:lpstr>Sommaire</vt:lpstr>
      <vt:lpstr> PRÉJUDICE SEXUEL (PS) / PRÉJUDICE ESTHÉTIQUE TEMPORAIRE (PET) / PRÉJUDICE D’ÉTABLISSEMENT (PE) / PRÉJUDICE D’AGRÉMENT (PA) </vt:lpstr>
      <vt:lpstr>Les problèmes textuels</vt:lpstr>
      <vt:lpstr>Le préjudice esthétique temporaire</vt:lpstr>
      <vt:lpstr>Le préjudice d’agrément</vt:lpstr>
      <vt:lpstr>Le préjudice sexuel</vt:lpstr>
      <vt:lpstr>Le préjudice d’établissement</vt:lpstr>
      <vt:lpstr>Un peu d’actualité</vt:lpstr>
      <vt:lpstr>Cass., Civ 1., 24 septembre 2025, n°24-11.414</vt:lpstr>
      <vt:lpstr>Cass., Civ 2., 18 septembre 2025, n°23-21.571</vt:lpstr>
      <vt:lpstr>Les questions indemnitaires</vt:lpstr>
      <vt:lpstr>Indemnisation du préjudice esthétique temporaire (2,5-3,5/7)</vt:lpstr>
      <vt:lpstr>Indemnisation du préjudice esthétique temporaire (2,5-3,5/7)</vt:lpstr>
      <vt:lpstr>Indemnisation du préjudice esthétique temporaire</vt:lpstr>
      <vt:lpstr>De erroribus pragmaticorum</vt:lpstr>
      <vt:lpstr>Indemnisation du préjudice d’agrément</vt:lpstr>
      <vt:lpstr>Indemnisation du préjudice d’agrément</vt:lpstr>
      <vt:lpstr>Indemnisation du préjudice d’agrément : méthode nouvelle</vt:lpstr>
      <vt:lpstr>Indemnisation du préjudice sexuel</vt:lpstr>
      <vt:lpstr>Indemnisation du préjudice sexue</vt:lpstr>
      <vt:lpstr>Indemnisation du préjudice d’établissement</vt:lpstr>
      <vt:lpstr>Indemnisation du préjudice d’établissement</vt:lpstr>
      <vt:lpstr>PowerPoint Presentation</vt:lpstr>
      <vt:lpstr>Le préjudice d’agrément  en fonction de l’âge</vt:lpstr>
      <vt:lpstr>Le préjudice d’établissement  en fonction du DFP</vt:lpstr>
      <vt:lpstr>Le préjudice d’établissement  en fonction de l’âge</vt:lpstr>
      <vt:lpstr>Le préjudice sexuel  en fonction du DFP</vt:lpstr>
      <vt:lpstr>Le préjudice sexuel  en fonction de l’âge</vt:lpstr>
      <vt:lpstr>Le préjudice sexuel selon les juridictions</vt:lpstr>
      <vt:lpstr>Le préjudice sexuel selon les CA</vt:lpstr>
      <vt:lpstr>Écart-type du préjudice sexuel selon les CA</vt:lpstr>
      <vt:lpstr>Préjudice esthétique temporaire (2,5-3,5/7),  les femmes et les hommes (CA)</vt:lpstr>
      <vt:lpstr>Préjudice d’agrément, les femmes et les hommes (CA)</vt:lpstr>
      <vt:lpstr>Préjudice sexuel, les femmes et les hommes (CA)</vt:lpstr>
      <vt:lpstr>Préjudice d’établissement, les femmes et les hommes (CA)</vt:lpstr>
      <vt:lpstr>Préjudice sexuel et dommage corporel</vt:lpstr>
      <vt:lpstr>Le préjudice sexuel</vt:lpstr>
      <vt:lpstr>Le préjudice sexuel</vt:lpstr>
      <vt:lpstr>Le préjudice sexuel chez les blessés médullaires</vt:lpstr>
      <vt:lpstr>Le préjudice sexuel chez les blessés médullaires, morphologique et fonctionnel</vt:lpstr>
      <vt:lpstr>Le préjudice sexuel chez les blessés médullaires, lié à la procréation</vt:lpstr>
      <vt:lpstr>Le préjudice sexuel chez les blessés médullaires,  lié à la procréation</vt:lpstr>
      <vt:lpstr>Le préjudice sexuel chez les blessés médullaires, retentissement psychologique</vt:lpstr>
      <vt:lpstr>Pièces utiles</vt:lpstr>
      <vt:lpstr>Pièces utiles</vt:lpstr>
      <vt:lpstr>Le préjudice sexuel chez les blessés médullaires, évaluation et indemnisation</vt:lpstr>
      <vt:lpstr>Le préjudice sexuel, conclusion</vt:lpstr>
      <vt:lpstr>Préjudices extra-patrimoniaux hors déficit fonctionnel  </vt:lpstr>
      <vt:lpstr>Le préjudice sexuel : nouvelles méthodes de calcul </vt:lpstr>
      <vt:lpstr>Préjudice sexuel : définition</vt:lpstr>
      <vt:lpstr>Préjudice sexuel : définition</vt:lpstr>
      <vt:lpstr>Préjudice sexuel et hypersexualité : élargissement jurisprudentiel</vt:lpstr>
      <vt:lpstr>Préjudice sexuel : Une indemnisation forfaitaire incomplète </vt:lpstr>
      <vt:lpstr>Préjudice sexuel : sur le coût à envisager </vt:lpstr>
      <vt:lpstr>Préjudice sexuel : sur le coût à envisager </vt:lpstr>
      <vt:lpstr>Préjudice sexuel : sur le coût à envisager </vt:lpstr>
      <vt:lpstr>Préjudice sexuel : sur le coût à envisager </vt:lpstr>
      <vt:lpstr>Préjudice sexuel : sur le coût à envisager </vt:lpstr>
      <vt:lpstr>Préjudice sexuel : la nature du préjudice </vt:lpstr>
      <vt:lpstr>Préjudice sexuel : Calcul du préjudice sexuel de la victime – A titre principale</vt:lpstr>
      <vt:lpstr>Préjudice sexuel : Calcul du préjudice sexuel de la victime – A titre subsidiaire</vt:lpstr>
      <vt:lpstr>Préjudice sexuel : Le caractère de l’âge de la victime</vt:lpstr>
      <vt:lpstr>Préjudice sexuel : Le caractère de l’âge de la victime</vt:lpstr>
      <vt:lpstr>Préjudice sexuel : Le caractère de l’âge de la victime</vt:lpstr>
      <vt:lpstr>Préjudice sexuel : Le caractère de l’âge de la victime</vt:lpstr>
      <vt:lpstr>Préjudice sexuel des victimes indirectes : définition </vt:lpstr>
      <vt:lpstr>Préjudice sexuel des victimes indirectes : définition </vt:lpstr>
      <vt:lpstr>Préjudice sexuel des victimes indirectes : définition </vt:lpstr>
      <vt:lpstr>Préjudice sexuel des victimes indirectes :  Les composantes </vt:lpstr>
      <vt:lpstr>Préjudice sexuel des victimes indirectes :  Les composantes </vt:lpstr>
      <vt:lpstr>Préjudice sexuel des victimes indirectes :  Les composantes </vt:lpstr>
      <vt:lpstr>Préjudice sexuel des victimes indirectes :  Les composantes </vt:lpstr>
      <vt:lpstr>Préjudice sexuel des victimes indirectes :  Sur le coût à envisager </vt:lpstr>
      <vt:lpstr>Préjudice sexuel des victimes indirectes : Sur le coût à envisager </vt:lpstr>
      <vt:lpstr>Préjudice sexuel des victimes indirectes : Sur le coût à envisager </vt:lpstr>
      <vt:lpstr>Préjudice sexuel des victimes indirectes : La nature du préjudice </vt:lpstr>
      <vt:lpstr>Préjudice sexuel des victimes indirectes : Le calcul du préjudice sexuel – à titre principal</vt:lpstr>
      <vt:lpstr>Préjudice sexuel des victimes indirectes : Le calcul du préjudice sexuel – à titre subsidiaire </vt:lpstr>
      <vt:lpstr>Préjudice sexuel des victimes indirectes : Le calcul du préjudice sexuel – à titre subsidiaire</vt:lpstr>
      <vt:lpstr>Préjudice sexuel des victimes indirectes : Le calcul du préjudice sexuel – à titre subsidiaire</vt:lpstr>
      <vt:lpstr>Nous vous remercions pour votre atten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Arlette Simon</cp:lastModifiedBy>
  <cp:revision>7</cp:revision>
  <dcterms:created xsi:type="dcterms:W3CDTF">2025-09-04T06:40:14Z</dcterms:created>
  <dcterms:modified xsi:type="dcterms:W3CDTF">2025-11-14T15: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